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media/image43.jpg" ContentType="image/jpg"/>
  <Override PartName="/ppt/tags/tag2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media/image66.jpg" ContentType="image/jpg"/>
  <Override PartName="/ppt/media/image67.jpg" ContentType="image/jpg"/>
  <Override PartName="/ppt/media/image68.jpg" ContentType="image/jpg"/>
  <Override PartName="/ppt/media/image69.jpg" ContentType="image/jpg"/>
  <Override PartName="/ppt/media/image70.jpg" ContentType="image/jpg"/>
  <Override PartName="/ppt/media/image71.jpg" ContentType="image/jpg"/>
  <Override PartName="/ppt/media/image72.jpg" ContentType="image/jpg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722" r:id="rId1"/>
    <p:sldMasterId id="2147485148" r:id="rId2"/>
  </p:sldMasterIdLst>
  <p:notesMasterIdLst>
    <p:notesMasterId r:id="rId36"/>
  </p:notesMasterIdLst>
  <p:sldIdLst>
    <p:sldId id="635" r:id="rId3"/>
    <p:sldId id="461" r:id="rId4"/>
    <p:sldId id="462" r:id="rId5"/>
    <p:sldId id="450" r:id="rId6"/>
    <p:sldId id="604" r:id="rId7"/>
    <p:sldId id="467" r:id="rId8"/>
    <p:sldId id="602" r:id="rId9"/>
    <p:sldId id="603" r:id="rId10"/>
    <p:sldId id="566" r:id="rId11"/>
    <p:sldId id="621" r:id="rId12"/>
    <p:sldId id="595" r:id="rId13"/>
    <p:sldId id="634" r:id="rId14"/>
    <p:sldId id="636" r:id="rId15"/>
    <p:sldId id="632" r:id="rId16"/>
    <p:sldId id="313" r:id="rId17"/>
    <p:sldId id="633" r:id="rId18"/>
    <p:sldId id="540" r:id="rId19"/>
    <p:sldId id="622" r:id="rId20"/>
    <p:sldId id="579" r:id="rId21"/>
    <p:sldId id="306" r:id="rId22"/>
    <p:sldId id="472" r:id="rId23"/>
    <p:sldId id="628" r:id="rId24"/>
    <p:sldId id="549" r:id="rId25"/>
    <p:sldId id="623" r:id="rId26"/>
    <p:sldId id="624" r:id="rId27"/>
    <p:sldId id="625" r:id="rId28"/>
    <p:sldId id="626" r:id="rId29"/>
    <p:sldId id="627" r:id="rId30"/>
    <p:sldId id="551" r:id="rId31"/>
    <p:sldId id="629" r:id="rId32"/>
    <p:sldId id="630" r:id="rId33"/>
    <p:sldId id="631" r:id="rId34"/>
    <p:sldId id="525" r:id="rId35"/>
  </p:sldIdLst>
  <p:sldSz cx="12192000" cy="6858000"/>
  <p:notesSz cx="6797675" cy="9928225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148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296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445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592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5740" algn="l" defTabSz="914296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2888" algn="l" defTabSz="914296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036" algn="l" defTabSz="914296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184" algn="l" defTabSz="914296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зимина Анастасия Александровна" initials="ААА" lastIdx="2" clrIdx="0">
    <p:extLst>
      <p:ext uri="{19B8F6BF-5375-455C-9EA6-DF929625EA0E}">
        <p15:presenceInfo xmlns:p15="http://schemas.microsoft.com/office/powerpoint/2012/main" userId="Азимина Анастасия Александро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2B2B2"/>
    <a:srgbClr val="0000FF"/>
    <a:srgbClr val="4567C7"/>
    <a:srgbClr val="000000"/>
    <a:srgbClr val="FFFF00"/>
    <a:srgbClr val="6666FF"/>
    <a:srgbClr val="FFFFFF"/>
    <a:srgbClr val="F3FD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9631B5-78F2-41C9-869B-9F39066F8104}" styleName="Средний стиль 3 -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7292A2E-F333-43FB-9621-5CBBE7FDCDCB}" styleName="Светлый стиль 2 -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7" autoAdjust="0"/>
    <p:restoredTop sz="94706" autoAdjust="0"/>
  </p:normalViewPr>
  <p:slideViewPr>
    <p:cSldViewPr>
      <p:cViewPr varScale="1">
        <p:scale>
          <a:sx n="114" d="100"/>
          <a:sy n="114" d="100"/>
        </p:scale>
        <p:origin x="300" y="11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VSM\Desktop\&#1060;&#1086;&#1088;&#1084;&#1086;&#1074;&#1072;&#1085;&#1085;&#1099;&#1077;%20&#1073;&#1091;&#1084;&#1072;&#1078;&#1085;&#1099;&#1077;%20&#1080;&#1079;&#1076;&#1077;&#1083;&#1080;&#1103;\&#1055;&#1088;&#1086;&#1077;&#1082;&#1090;%20&#1092;&#1086;&#1088;&#1084;&#1086;&#1074;&#1072;&#1085;&#1085;&#1099;&#1093;%20&#1080;&#1079;&#1076;&#1077;&#1083;&#1080;&#1081;%20&#1074;%20&#1058;&#1086;&#1083;&#1089;&#1090;&#1086;&#1087;&#1072;&#1083;&#1100;&#1094;&#1077;&#1074;&#1086;%20&#1089;%20&#1072;&#1075;&#1088;&#1086;&#1095;&#1072;&#1089;&#1090;&#1100;&#1102;%20&#1051;&#1048;&#1047;&#1048;&#1053;&#1043;3%20&#1052;&#1045;&#1047;&#1054;&#1053;&#1048;&#1053;3.xlsm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VSM\Desktop\&#1060;&#1086;&#1088;&#1084;&#1086;&#1074;&#1072;&#1085;&#1085;&#1099;&#1077;%20&#1073;&#1091;&#1084;&#1072;&#1078;&#1085;&#1099;&#1077;%20&#1080;&#1079;&#1076;&#1077;&#1083;&#1080;&#1103;\&#1055;&#1088;&#1086;&#1077;&#1082;&#1090;%20&#1092;&#1086;&#1088;&#1084;&#1086;&#1074;&#1072;&#1085;&#1085;&#1099;&#1093;%20&#1080;&#1079;&#1076;&#1077;&#1083;&#1080;&#1081;%20&#1074;%20&#1058;&#1086;&#1083;&#1089;&#1090;&#1086;&#1087;&#1072;&#1083;&#1100;&#1094;&#1077;&#1074;&#1086;%20&#1089;%20&#1072;&#1075;&#1088;&#1086;&#1095;&#1072;&#1089;&#1090;&#1100;&#1102;%20&#1051;&#1048;&#1047;&#1048;&#1053;&#1043;3%20&#1052;&#1045;&#1047;&#1054;&#1053;&#1048;&#1053;3.xlsm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VSM\Desktop\&#1060;&#1086;&#1088;&#1084;&#1086;&#1074;&#1072;&#1085;&#1085;&#1099;&#1077;%20&#1073;&#1091;&#1084;&#1072;&#1078;&#1085;&#1099;&#1077;%20&#1080;&#1079;&#1076;&#1077;&#1083;&#1080;&#1103;\&#1055;&#1088;&#1086;&#1077;&#1082;&#1090;%20&#1092;&#1086;&#1088;&#1084;&#1086;&#1074;&#1072;&#1085;&#1085;&#1099;&#1093;%20&#1080;&#1079;&#1076;&#1077;&#1083;&#1080;&#1081;%20&#1074;%20&#1058;&#1086;&#1083;&#1089;&#1090;&#1086;&#1087;&#1072;&#1083;&#1100;&#1094;&#1077;&#1074;&#1086;%20&#1089;%20&#1072;&#1075;&#1088;&#1086;&#1095;&#1072;&#1089;&#1090;&#1100;&#1102;%20&#1051;&#1048;&#1047;&#1048;&#1053;&#1043;3%20&#1052;&#1045;&#1047;&#1054;&#1053;&#1048;&#1053;3.xlsm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Прирост к 2030'!$D$17</c:f>
              <c:strCache>
                <c:ptCount val="1"/>
                <c:pt idx="0">
                  <c:v>прирост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A8F-4AF9-8925-160E4B16513B}"/>
              </c:ext>
            </c:extLst>
          </c:dPt>
          <c:dPt>
            <c:idx val="2"/>
            <c:invertIfNegative val="0"/>
            <c:bubble3D val="0"/>
            <c:spPr>
              <a:solidFill>
                <a:schemeClr val="bg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A8F-4AF9-8925-160E4B16513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A8F-4AF9-8925-160E4B16513B}"/>
              </c:ext>
            </c:extLst>
          </c:dPt>
          <c:cat>
            <c:strRef>
              <c:f>'Прирост к 2030'!$A$18:$A$21</c:f>
              <c:strCache>
                <c:ptCount val="4"/>
                <c:pt idx="0">
                  <c:v>СГИ</c:v>
                </c:pt>
                <c:pt idx="1">
                  <c:v>Целлюлоза</c:v>
                </c:pt>
                <c:pt idx="2">
                  <c:v>Писчепечатная бумага</c:v>
                </c:pt>
                <c:pt idx="3">
                  <c:v>Упаковочная бумага и картон</c:v>
                </c:pt>
              </c:strCache>
            </c:strRef>
          </c:cat>
          <c:val>
            <c:numRef>
              <c:f>'Прирост к 2030'!$D$18:$D$21</c:f>
              <c:numCache>
                <c:formatCode>General</c:formatCode>
                <c:ptCount val="4"/>
                <c:pt idx="0">
                  <c:v>19.599999999999994</c:v>
                </c:pt>
                <c:pt idx="1">
                  <c:v>32.729999999999997</c:v>
                </c:pt>
                <c:pt idx="2">
                  <c:v>-14.599999999999994</c:v>
                </c:pt>
                <c:pt idx="3">
                  <c:v>94.199999999999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A8F-4AF9-8925-160E4B1651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63510208"/>
        <c:axId val="123026888"/>
      </c:barChart>
      <c:catAx>
        <c:axId val="2635102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3026888"/>
        <c:crosses val="autoZero"/>
        <c:auto val="1"/>
        <c:lblAlgn val="ctr"/>
        <c:lblOffset val="100"/>
        <c:noMultiLvlLbl val="0"/>
      </c:catAx>
      <c:valAx>
        <c:axId val="123026888"/>
        <c:scaling>
          <c:orientation val="minMax"/>
          <c:min val="-2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3510208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/>
              <a:t>прирост в сегменте "Упаковочная бумага и картон" млн.т.</a:t>
            </a:r>
          </a:p>
        </c:rich>
      </c:tx>
      <c:layout>
        <c:manualLayout>
          <c:xMode val="edge"/>
          <c:yMode val="edge"/>
          <c:x val="0.15170822397200351"/>
          <c:y val="9.2592592592592587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cap="all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13E8-478A-B780-BB81B0966431}"/>
              </c:ext>
            </c:extLst>
          </c:dPt>
          <c:dPt>
            <c:idx val="1"/>
            <c:bubble3D val="0"/>
            <c:explosion val="8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13E8-478A-B780-BB81B0966431}"/>
              </c:ext>
            </c:extLst>
          </c:dPt>
          <c:dPt>
            <c:idx val="2"/>
            <c:bubble3D val="0"/>
            <c:explosion val="14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5-13E8-478A-B780-BB81B096643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7-13E8-478A-B780-BB81B0966431}"/>
              </c:ext>
            </c:extLst>
          </c:dPt>
          <c:dLbls>
            <c:dLbl>
              <c:idx val="0"/>
              <c:layout>
                <c:manualLayout>
                  <c:x val="0.10138888888888886"/>
                  <c:y val="5.092592592592590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515288713910757"/>
                      <c:h val="0.2077149256143256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13E8-478A-B780-BB81B0966431}"/>
                </c:ext>
              </c:extLst>
            </c:dLbl>
            <c:dLbl>
              <c:idx val="1"/>
              <c:layout>
                <c:manualLayout>
                  <c:x val="1.697776980730031E-2"/>
                  <c:y val="8.6780571196770229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775109361329835"/>
                      <c:h val="0.2077149256143256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13E8-478A-B780-BB81B0966431}"/>
                </c:ext>
              </c:extLst>
            </c:dLbl>
            <c:dLbl>
              <c:idx val="2"/>
              <c:layout>
                <c:manualLayout>
                  <c:x val="0"/>
                  <c:y val="-2.004196503418811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014977468566136"/>
                      <c:h val="0.1587926467766207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13E8-478A-B780-BB81B0966431}"/>
                </c:ext>
              </c:extLst>
            </c:dLbl>
            <c:dLbl>
              <c:idx val="3"/>
              <c:layout>
                <c:manualLayout>
                  <c:x val="2.7777777777777779E-3"/>
                  <c:y val="-2.805875104786336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3E8-478A-B780-BB81B0966431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Прирост к 2030'!$F$9:$F$12</c:f>
              <c:strCache>
                <c:ptCount val="4"/>
                <c:pt idx="0">
                  <c:v>Чистоцеллюлозный тарный картон</c:v>
                </c:pt>
                <c:pt idx="1">
                  <c:v>Макулатурный тарный картон</c:v>
                </c:pt>
                <c:pt idx="2">
                  <c:v>Потребительский картон</c:v>
                </c:pt>
                <c:pt idx="3">
                  <c:v>Крафт-бумага</c:v>
                </c:pt>
              </c:strCache>
            </c:strRef>
          </c:cat>
          <c:val>
            <c:numRef>
              <c:f>'Прирост к 2030'!$AG$9:$AG$12</c:f>
              <c:numCache>
                <c:formatCode>0.0</c:formatCode>
                <c:ptCount val="4"/>
                <c:pt idx="0">
                  <c:v>9.1000000000000014</c:v>
                </c:pt>
                <c:pt idx="1">
                  <c:v>58</c:v>
                </c:pt>
                <c:pt idx="2">
                  <c:v>22.799999999999997</c:v>
                </c:pt>
                <c:pt idx="3">
                  <c:v>4.2999999999999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3E8-478A-B780-BB81B0966431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Прогноз Мирового Рынка ЦБП до 2030 г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ndard"/>
        <c:varyColors val="0"/>
        <c:ser>
          <c:idx val="0"/>
          <c:order val="0"/>
          <c:tx>
            <c:strRef>
              <c:f>'Прирост к 2030'!$A$18</c:f>
              <c:strCache>
                <c:ptCount val="1"/>
                <c:pt idx="0">
                  <c:v>СГИ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cat>
            <c:numRef>
              <c:f>'Прирост к 2030'!$B$17:$C$17</c:f>
              <c:numCache>
                <c:formatCode>General</c:formatCode>
                <c:ptCount val="2"/>
                <c:pt idx="0">
                  <c:v>2015</c:v>
                </c:pt>
                <c:pt idx="1">
                  <c:v>2030</c:v>
                </c:pt>
              </c:numCache>
            </c:numRef>
          </c:cat>
          <c:val>
            <c:numRef>
              <c:f>'Прирост к 2030'!$B$18:$C$18</c:f>
              <c:numCache>
                <c:formatCode>General</c:formatCode>
                <c:ptCount val="2"/>
                <c:pt idx="0">
                  <c:v>34.6</c:v>
                </c:pt>
                <c:pt idx="1">
                  <c:v>54.1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85-43C2-900D-441D4396688E}"/>
            </c:ext>
          </c:extLst>
        </c:ser>
        <c:ser>
          <c:idx val="1"/>
          <c:order val="1"/>
          <c:tx>
            <c:strRef>
              <c:f>'Прирост к 2030'!$A$19</c:f>
              <c:strCache>
                <c:ptCount val="1"/>
                <c:pt idx="0">
                  <c:v>Целлюлоза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Прирост к 2030'!$B$17:$C$17</c:f>
              <c:numCache>
                <c:formatCode>General</c:formatCode>
                <c:ptCount val="2"/>
                <c:pt idx="0">
                  <c:v>2015</c:v>
                </c:pt>
                <c:pt idx="1">
                  <c:v>2030</c:v>
                </c:pt>
              </c:numCache>
            </c:numRef>
          </c:cat>
          <c:val>
            <c:numRef>
              <c:f>'Прирост к 2030'!$B$19:$C$19</c:f>
              <c:numCache>
                <c:formatCode>General</c:formatCode>
                <c:ptCount val="2"/>
                <c:pt idx="0">
                  <c:v>68.72</c:v>
                </c:pt>
                <c:pt idx="1">
                  <c:v>101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85-43C2-900D-441D4396688E}"/>
            </c:ext>
          </c:extLst>
        </c:ser>
        <c:ser>
          <c:idx val="2"/>
          <c:order val="2"/>
          <c:tx>
            <c:strRef>
              <c:f>'Прирост к 2030'!$A$20</c:f>
              <c:strCache>
                <c:ptCount val="1"/>
                <c:pt idx="0">
                  <c:v>Писчепечатная бумага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cat>
            <c:numRef>
              <c:f>'Прирост к 2030'!$B$17:$C$17</c:f>
              <c:numCache>
                <c:formatCode>General</c:formatCode>
                <c:ptCount val="2"/>
                <c:pt idx="0">
                  <c:v>2015</c:v>
                </c:pt>
                <c:pt idx="1">
                  <c:v>2030</c:v>
                </c:pt>
              </c:numCache>
            </c:numRef>
          </c:cat>
          <c:val>
            <c:numRef>
              <c:f>'Прирост к 2030'!$B$20:$C$20</c:f>
              <c:numCache>
                <c:formatCode>General</c:formatCode>
                <c:ptCount val="2"/>
                <c:pt idx="0">
                  <c:v>118.3</c:v>
                </c:pt>
                <c:pt idx="1">
                  <c:v>103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85-43C2-900D-441D4396688E}"/>
            </c:ext>
          </c:extLst>
        </c:ser>
        <c:ser>
          <c:idx val="3"/>
          <c:order val="3"/>
          <c:tx>
            <c:strRef>
              <c:f>'Прирост к 2030'!$A$21</c:f>
              <c:strCache>
                <c:ptCount val="1"/>
                <c:pt idx="0">
                  <c:v>Упаковочная бумага и картон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Прирост к 2030'!$B$17:$C$17</c:f>
              <c:numCache>
                <c:formatCode>General</c:formatCode>
                <c:ptCount val="2"/>
                <c:pt idx="0">
                  <c:v>2015</c:v>
                </c:pt>
                <c:pt idx="1">
                  <c:v>2030</c:v>
                </c:pt>
              </c:numCache>
            </c:numRef>
          </c:cat>
          <c:val>
            <c:numRef>
              <c:f>'Прирост к 2030'!$B$21:$C$21</c:f>
              <c:numCache>
                <c:formatCode>General</c:formatCode>
                <c:ptCount val="2"/>
                <c:pt idx="0">
                  <c:v>219.00000000000003</c:v>
                </c:pt>
                <c:pt idx="1">
                  <c:v>31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C85-43C2-900D-441D439668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25016992"/>
        <c:axId val="263779720"/>
        <c:axId val="123367440"/>
      </c:bar3DChart>
      <c:catAx>
        <c:axId val="125016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3779720"/>
        <c:crosses val="autoZero"/>
        <c:auto val="1"/>
        <c:lblAlgn val="ctr"/>
        <c:lblOffset val="100"/>
        <c:noMultiLvlLbl val="0"/>
      </c:catAx>
      <c:valAx>
        <c:axId val="263779720"/>
        <c:scaling>
          <c:orientation val="minMax"/>
          <c:max val="32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млн.т.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5016992"/>
        <c:crosses val="autoZero"/>
        <c:crossBetween val="between"/>
      </c:valAx>
      <c:serAx>
        <c:axId val="12336744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3779720"/>
        <c:crosses val="autoZero"/>
      </c:ser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Прирост к 2030'!$F$17</c:f>
              <c:strCache>
                <c:ptCount val="1"/>
                <c:pt idx="0">
                  <c:v>Прирост на рынке РФ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EAE-415A-AA56-04F90ED62CDC}"/>
              </c:ext>
            </c:extLst>
          </c:dPt>
          <c:dPt>
            <c:idx val="2"/>
            <c:invertIfNegative val="0"/>
            <c:bubble3D val="0"/>
            <c:spPr>
              <a:solidFill>
                <a:schemeClr val="bg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EAE-415A-AA56-04F90ED62CD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9FB-4A5F-8242-BFC711816C64}"/>
              </c:ext>
            </c:extLst>
          </c:dPt>
          <c:cat>
            <c:strRef>
              <c:f>'Прирост к 2030'!$A$17:$A$21</c:f>
              <c:strCache>
                <c:ptCount val="4"/>
                <c:pt idx="0">
                  <c:v>СГИ</c:v>
                </c:pt>
                <c:pt idx="1">
                  <c:v>Целлюлоза</c:v>
                </c:pt>
                <c:pt idx="2">
                  <c:v>Писчепечатная бумага</c:v>
                </c:pt>
                <c:pt idx="3">
                  <c:v>Упаковочная бумага и картон</c:v>
                </c:pt>
              </c:strCache>
            </c:strRef>
          </c:cat>
          <c:val>
            <c:numRef>
              <c:f>'Прирост к 2030'!$F$17:$F$21</c:f>
              <c:numCache>
                <c:formatCode>_-* #\ ##0.00_р_._-;\-* #\ ##0.00_р_._-;_-* "-"??_р_._-;_-@_-</c:formatCode>
                <c:ptCount val="4"/>
                <c:pt idx="0">
                  <c:v>0.8</c:v>
                </c:pt>
                <c:pt idx="1">
                  <c:v>0.41000000000000003</c:v>
                </c:pt>
                <c:pt idx="2">
                  <c:v>0.23</c:v>
                </c:pt>
                <c:pt idx="3">
                  <c:v>1.9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EAE-415A-AA56-04F90ED62C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63781288"/>
        <c:axId val="263781680"/>
      </c:barChart>
      <c:catAx>
        <c:axId val="2637812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3781680"/>
        <c:crosses val="autoZero"/>
        <c:auto val="1"/>
        <c:lblAlgn val="ctr"/>
        <c:lblOffset val="100"/>
        <c:noMultiLvlLbl val="0"/>
      </c:catAx>
      <c:valAx>
        <c:axId val="26378168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\ ##0.00_р_._-;\-* #\ ##0.00_р_._-;_-* &quot;-&quot;??_р_.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3781288"/>
        <c:crosses val="autoZero"/>
        <c:crossBetween val="between"/>
        <c:majorUnit val="0.5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898087248050578E-2"/>
          <c:y val="5.783385909568875E-2"/>
          <c:w val="0.86399078389999651"/>
          <c:h val="0.2124257929903872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[Проект формованных изделий в Толстопальцево с агрочастью ЛИЗИНГ3 МЕЗОНИН3.xlsm]Операционные затраты'!$D$231</c:f>
              <c:strCache>
                <c:ptCount val="1"/>
                <c:pt idx="0">
                  <c:v>Целлюлоза из сахарного тростника (Багаса)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Проект формованных изделий в Толстопальцево с агрочастью ЛИЗИНГ3 МЕЗОНИН3.xlsm]Операционные затраты'!$AJ$231</c:f>
              <c:numCache>
                <c:formatCode>_(* #,##0.00_);_(* \(#,##0.00\);_(* "-"??_);_(@_)</c:formatCode>
                <c:ptCount val="1"/>
                <c:pt idx="0">
                  <c:v>84.2400000000000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C9-4D1C-AF30-2FACF2D08988}"/>
            </c:ext>
          </c:extLst>
        </c:ser>
        <c:ser>
          <c:idx val="2"/>
          <c:order val="2"/>
          <c:tx>
            <c:strRef>
              <c:f>'[Проект формованных изделий в Толстопальцево с агрочастью ЛИЗИНГ3 МЕЗОНИН3.xlsm]Операционные затраты'!$D$233</c:f>
              <c:strCache>
                <c:ptCount val="1"/>
                <c:pt idx="0">
                  <c:v>     - водомаслоотталкинаюшие смолы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Проект формованных изделий в Толстопальцево с агрочастью ЛИЗИНГ3 МЕЗОНИН3.xlsm]Операционные затраты'!$AJ$233</c:f>
              <c:numCache>
                <c:formatCode>_(* #,##0.00_);_(* \(#,##0.00\);_(* "-"??_);_(@_)</c:formatCode>
                <c:ptCount val="1"/>
                <c:pt idx="0">
                  <c:v>21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6C9-4D1C-AF30-2FACF2D08988}"/>
            </c:ext>
          </c:extLst>
        </c:ser>
        <c:ser>
          <c:idx val="3"/>
          <c:order val="3"/>
          <c:tx>
            <c:strRef>
              <c:f>'[Проект формованных изделий в Толстопальцево с агрочастью ЛИЗИНГ3 МЕЗОНИН3.xlsm]Операционные затраты'!$D$234</c:f>
              <c:strCache>
                <c:ptCount val="1"/>
                <c:pt idx="0">
                  <c:v>     - ОЭДФ (100%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val>
            <c:numRef>
              <c:f>'[Проект формованных изделий в Толстопальцево с агрочастью ЛИЗИНГ3 МЕЗОНИН3.xlsm]Операционные затраты'!$AJ$234</c:f>
              <c:numCache>
                <c:formatCode>_(* #,##0.00_);_(* \(#,##0.00\);_(* "-"??_);_(@_)</c:formatCode>
                <c:ptCount val="1"/>
                <c:pt idx="0">
                  <c:v>0.30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6C9-4D1C-AF30-2FACF2D08988}"/>
            </c:ext>
          </c:extLst>
        </c:ser>
        <c:ser>
          <c:idx val="4"/>
          <c:order val="4"/>
          <c:tx>
            <c:strRef>
              <c:f>'[Проект формованных изделий в Толстопальцево с агрочастью ЛИЗИНГ3 МЕЗОНИН3.xlsm]Операционные затраты'!$D$235</c:f>
              <c:strCache>
                <c:ptCount val="1"/>
                <c:pt idx="0">
                  <c:v>     - водоснабжение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val>
            <c:numRef>
              <c:f>'[Проект формованных изделий в Толстопальцево с агрочастью ЛИЗИНГ3 МЕЗОНИН3.xlsm]Операционные затраты'!$AJ$235</c:f>
              <c:numCache>
                <c:formatCode>_(* #,##0.00_);_(* \(#,##0.00\);_(* "-"??_);_(@_)</c:formatCode>
                <c:ptCount val="1"/>
                <c:pt idx="0">
                  <c:v>0.233333333333333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6C9-4D1C-AF30-2FACF2D08988}"/>
            </c:ext>
          </c:extLst>
        </c:ser>
        <c:ser>
          <c:idx val="5"/>
          <c:order val="5"/>
          <c:tx>
            <c:strRef>
              <c:f>'[Проект формованных изделий в Толстопальцево с агрочастью ЛИЗИНГ3 МЕЗОНИН3.xlsm]Операционные затраты'!$D$236</c:f>
              <c:strCache>
                <c:ptCount val="1"/>
                <c:pt idx="0">
                  <c:v>     - электроснабжение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Проект формованных изделий в Толстопальцево с агрочастью ЛИЗИНГ3 МЕЗОНИН3.xlsm]Операционные затраты'!$AJ$236</c:f>
              <c:numCache>
                <c:formatCode>_(* #,##0.00_);_(* \(#,##0.00\);_(* "-"??_);_(@_)</c:formatCode>
                <c:ptCount val="1"/>
                <c:pt idx="0">
                  <c:v>14.1604166666666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6C9-4D1C-AF30-2FACF2D08988}"/>
            </c:ext>
          </c:extLst>
        </c:ser>
        <c:ser>
          <c:idx val="6"/>
          <c:order val="6"/>
          <c:tx>
            <c:strRef>
              <c:f>'[Проект формованных изделий в Толстопальцево с агрочастью ЛИЗИНГ3 МЕЗОНИН3.xlsm]Операционные затраты'!$D$237</c:f>
              <c:strCache>
                <c:ptCount val="1"/>
                <c:pt idx="0">
                  <c:v>     - теплоснабжение (Газ)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0962-4756-8A0F-8716EA3FC87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Проект формованных изделий в Толстопальцево с агрочастью ЛИЗИНГ3 МЕЗОНИН3.xlsm]Операционные затраты'!$AJ$237</c:f>
              <c:numCache>
                <c:formatCode>_(* #,##0.00_);_(* \(#,##0.00\);_(* "-"??_);_(@_)</c:formatCode>
                <c:ptCount val="1"/>
                <c:pt idx="0">
                  <c:v>12.6041666666666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6C9-4D1C-AF30-2FACF2D08988}"/>
            </c:ext>
          </c:extLst>
        </c:ser>
        <c:ser>
          <c:idx val="7"/>
          <c:order val="7"/>
          <c:tx>
            <c:strRef>
              <c:f>'[Проект формованных изделий в Толстопальцево с агрочастью ЛИЗИНГ3 МЕЗОНИН3.xlsm]Операционные затраты'!$D$238</c:f>
              <c:strCache>
                <c:ptCount val="1"/>
                <c:pt idx="0">
                  <c:v>     - кислота серная (94%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val>
            <c:numRef>
              <c:f>'[Проект формованных изделий в Толстопальцево с агрочастью ЛИЗИНГ3 МЕЗОНИН3.xlsm]Операционные затраты'!$AJ$238</c:f>
              <c:numCache>
                <c:formatCode>_(* #,##0.00_);_(* \(#,##0.00\);_(* "-"??_);_(@_)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6C9-4D1C-AF30-2FACF2D08988}"/>
            </c:ext>
          </c:extLst>
        </c:ser>
        <c:ser>
          <c:idx val="8"/>
          <c:order val="8"/>
          <c:tx>
            <c:strRef>
              <c:f>'[Проект формованных изделий в Толстопальцево с агрочастью ЛИЗИНГ3 МЕЗОНИН3.xlsm]Операционные затраты'!$D$239</c:f>
              <c:strCache>
                <c:ptCount val="1"/>
                <c:pt idx="0">
                  <c:v>     - коагулянт (полиакриламид, 100%)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val>
            <c:numRef>
              <c:f>'[Проект формованных изделий в Толстопальцево с агрочастью ЛИЗИНГ3 МЕЗОНИН3.xlsm]Операционные затраты'!$AJ$239</c:f>
              <c:numCache>
                <c:formatCode>_(* #,##0.00_);_(* \(#,##0.00\);_(* "-"??_);_(@_)</c:formatCode>
                <c:ptCount val="1"/>
                <c:pt idx="0">
                  <c:v>2.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6C9-4D1C-AF30-2FACF2D089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65426064"/>
        <c:axId val="265426456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'[Проект формованных изделий в Толстопальцево с агрочастью ЛИЗИНГ3 МЕЗОНИН3.xlsm]Операционные затраты'!$D$232</c15:sqref>
                        </c15:formulaRef>
                      </c:ext>
                    </c:extLst>
                    <c:strCache>
                      <c:ptCount val="1"/>
                      <c:pt idx="0">
                        <c:v>Мискантус (солома)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val>
                  <c:numRef>
                    <c:extLst>
                      <c:ext uri="{02D57815-91ED-43cb-92C2-25804820EDAC}">
                        <c15:formulaRef>
                          <c15:sqref>'[Проект формованных изделий в Толстопальцево с агрочастью ЛИЗИНГ3 МЕЗОНИН3.xlsm]Операционные затраты'!$AJ$232</c15:sqref>
                        </c15:formulaRef>
                      </c:ext>
                    </c:extLst>
                    <c:numCache>
                      <c:formatCode>_(* #,##0.00_);_(* \(#,##0.00\);_(* "-"??_);_(@_)</c:formatCode>
                      <c:ptCount val="1"/>
                      <c:pt idx="0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8-26C9-4D1C-AF30-2FACF2D08988}"/>
                  </c:ext>
                </c:extLst>
              </c15:ser>
            </c15:filteredBarSeries>
          </c:ext>
        </c:extLst>
      </c:barChart>
      <c:catAx>
        <c:axId val="2654260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5426456"/>
        <c:crosses val="autoZero"/>
        <c:auto val="1"/>
        <c:lblAlgn val="ctr"/>
        <c:lblOffset val="100"/>
        <c:noMultiLvlLbl val="0"/>
      </c:catAx>
      <c:valAx>
        <c:axId val="26542645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5426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egendEntry>
        <c:idx val="6"/>
        <c:delete val="1"/>
      </c:legendEntry>
      <c:legendEntry>
        <c:idx val="7"/>
        <c:delete val="1"/>
      </c:legendEntry>
      <c:layout>
        <c:manualLayout>
          <c:xMode val="edge"/>
          <c:yMode val="edge"/>
          <c:x val="1.2400483902118091E-2"/>
          <c:y val="0.43228783902012247"/>
          <c:w val="0.64464318561749467"/>
          <c:h val="0.5399343832020997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accent2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898087248050578E-2"/>
          <c:y val="5.783385909568875E-2"/>
          <c:w val="0.8690463405613168"/>
          <c:h val="0.2222575490366543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Операционные затраты'!$D$230</c:f>
              <c:strCache>
                <c:ptCount val="1"/>
                <c:pt idx="0">
                  <c:v>Целлюлоза лиственная сульфатная беленая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Операционные затраты'!$AM$230</c:f>
              <c:numCache>
                <c:formatCode>_(* #,##0.00_);_(* \(#,##0.00\);_(* "-"??_);_(@_)</c:formatCode>
                <c:ptCount val="1"/>
                <c:pt idx="0">
                  <c:v>41.116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EC-4E81-BE10-7CE5904A6480}"/>
            </c:ext>
          </c:extLst>
        </c:ser>
        <c:ser>
          <c:idx val="3"/>
          <c:order val="3"/>
          <c:tx>
            <c:strRef>
              <c:f>'Операционные затраты'!$D$233</c:f>
              <c:strCache>
                <c:ptCount val="1"/>
                <c:pt idx="0">
                  <c:v>     - водомаслоотталкинаюшие смолы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Операционные затраты'!$AM$233</c:f>
              <c:numCache>
                <c:formatCode>_(* #,##0.00_);_(* \(#,##0.00\);_(* "-"??_);_(@_)</c:formatCode>
                <c:ptCount val="1"/>
                <c:pt idx="0">
                  <c:v>21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4EC-4E81-BE10-7CE5904A6480}"/>
            </c:ext>
          </c:extLst>
        </c:ser>
        <c:ser>
          <c:idx val="4"/>
          <c:order val="4"/>
          <c:tx>
            <c:strRef>
              <c:f>'Операционные затраты'!$D$234</c:f>
              <c:strCache>
                <c:ptCount val="1"/>
                <c:pt idx="0">
                  <c:v>     - ОЭДФ (100%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val>
            <c:numRef>
              <c:f>'Операционные затраты'!$AM$234</c:f>
              <c:numCache>
                <c:formatCode>_(* #,##0.00_);_(* \(#,##0.00\);_(* "-"??_);_(@_)</c:formatCode>
                <c:ptCount val="1"/>
                <c:pt idx="0">
                  <c:v>0.30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4EC-4E81-BE10-7CE5904A6480}"/>
            </c:ext>
          </c:extLst>
        </c:ser>
        <c:ser>
          <c:idx val="5"/>
          <c:order val="5"/>
          <c:tx>
            <c:strRef>
              <c:f>'Операционные затраты'!$D$235</c:f>
              <c:strCache>
                <c:ptCount val="1"/>
                <c:pt idx="0">
                  <c:v>     - водоснабжение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val>
            <c:numRef>
              <c:f>'Операционные затраты'!$AM$235</c:f>
              <c:numCache>
                <c:formatCode>_(* #,##0.00_);_(* \(#,##0.00\);_(* "-"??_);_(@_)</c:formatCode>
                <c:ptCount val="1"/>
                <c:pt idx="0">
                  <c:v>0.233333333333333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4EC-4E81-BE10-7CE5904A6480}"/>
            </c:ext>
          </c:extLst>
        </c:ser>
        <c:ser>
          <c:idx val="6"/>
          <c:order val="6"/>
          <c:tx>
            <c:strRef>
              <c:f>'Операционные затраты'!$D$236</c:f>
              <c:strCache>
                <c:ptCount val="1"/>
                <c:pt idx="0">
                  <c:v>     - электроснабжение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Операционные затраты'!$AM$236</c:f>
              <c:numCache>
                <c:formatCode>_(* #,##0.00_);_(* \(#,##0.00\);_(* "-"??_);_(@_)</c:formatCode>
                <c:ptCount val="1"/>
                <c:pt idx="0">
                  <c:v>14.1604166666666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4EC-4E81-BE10-7CE5904A6480}"/>
            </c:ext>
          </c:extLst>
        </c:ser>
        <c:ser>
          <c:idx val="7"/>
          <c:order val="7"/>
          <c:tx>
            <c:strRef>
              <c:f>'Операционные затраты'!$D$237</c:f>
              <c:strCache>
                <c:ptCount val="1"/>
                <c:pt idx="0">
                  <c:v>     - теплоснабжение (Газ)</c:v>
                </c:pt>
              </c:strCache>
            </c:strRef>
          </c:tx>
          <c:spPr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Операционные затраты'!$AM$237</c:f>
              <c:numCache>
                <c:formatCode>_(* #,##0.00_);_(* \(#,##0.00\);_(* "-"??_);_(@_)</c:formatCode>
                <c:ptCount val="1"/>
                <c:pt idx="0">
                  <c:v>12.6041666666666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4EC-4E81-BE10-7CE5904A6480}"/>
            </c:ext>
          </c:extLst>
        </c:ser>
        <c:ser>
          <c:idx val="8"/>
          <c:order val="8"/>
          <c:tx>
            <c:strRef>
              <c:f>'Операционные затраты'!$D$238</c:f>
              <c:strCache>
                <c:ptCount val="1"/>
                <c:pt idx="0">
                  <c:v>     - кислота серная (94%)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val>
            <c:numRef>
              <c:f>'Операционные затраты'!$AM$238</c:f>
              <c:numCache>
                <c:formatCode>_(* #,##0.00_);_(* \(#,##0.00\);_(* "-"??_);_(@_)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4EC-4E81-BE10-7CE5904A6480}"/>
            </c:ext>
          </c:extLst>
        </c:ser>
        <c:ser>
          <c:idx val="9"/>
          <c:order val="9"/>
          <c:tx>
            <c:strRef>
              <c:f>'Операционные затраты'!$D$239</c:f>
              <c:strCache>
                <c:ptCount val="1"/>
                <c:pt idx="0">
                  <c:v>     - коагулянт (полиакриламид, 100%)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val>
            <c:numRef>
              <c:f>'Операционные затраты'!$AM$239</c:f>
              <c:numCache>
                <c:formatCode>_(* #,##0.00_);_(* \(#,##0.00\);_(* "-"??_);_(@_)</c:formatCode>
                <c:ptCount val="1"/>
                <c:pt idx="0">
                  <c:v>2.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4EC-4E81-BE10-7CE5904A64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63088080"/>
        <c:axId val="266908680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'Операционные затраты'!$D$231</c15:sqref>
                        </c15:formulaRef>
                      </c:ext>
                    </c:extLst>
                    <c:strCache>
                      <c:ptCount val="1"/>
                      <c:pt idx="0">
                        <c:v>Целлюлоза из сахарного тростника (Багаса)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val>
                  <c:numRef>
                    <c:extLst>
                      <c:ext uri="{02D57815-91ED-43cb-92C2-25804820EDAC}">
                        <c15:formulaRef>
                          <c15:sqref>'Операционные затраты'!$AM$231</c15:sqref>
                        </c15:formulaRef>
                      </c:ext>
                    </c:extLst>
                    <c:numCache>
                      <c:formatCode>_(* #,##0.00_);_(* \(#,##0.00\);_(* "-"??_);_(@_)</c:formatCode>
                      <c:ptCount val="1"/>
                      <c:pt idx="0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8-B4EC-4E81-BE10-7CE5904A6480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Операционные затраты'!$D$232</c15:sqref>
                        </c15:formulaRef>
                      </c:ext>
                    </c:extLst>
                    <c:strCache>
                      <c:ptCount val="1"/>
                      <c:pt idx="0">
                        <c:v>Мискантус (солома)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Операционные затраты'!$AM$232</c15:sqref>
                        </c15:formulaRef>
                      </c:ext>
                    </c:extLst>
                    <c:numCache>
                      <c:formatCode>_(* #,##0.00_);_(* \(#,##0.00\);_(* "-"??_);_(@_)</c:formatCode>
                      <c:ptCount val="1"/>
                      <c:pt idx="0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B4EC-4E81-BE10-7CE5904A6480}"/>
                  </c:ext>
                </c:extLst>
              </c15:ser>
            </c15:filteredBarSeries>
          </c:ext>
        </c:extLst>
      </c:barChart>
      <c:catAx>
        <c:axId val="2630880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6908680"/>
        <c:crosses val="autoZero"/>
        <c:auto val="1"/>
        <c:lblAlgn val="ctr"/>
        <c:lblOffset val="100"/>
        <c:noMultiLvlLbl val="0"/>
      </c:catAx>
      <c:valAx>
        <c:axId val="266908680"/>
        <c:scaling>
          <c:orientation val="minMax"/>
          <c:max val="14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30880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egendEntry>
        <c:idx val="6"/>
        <c:delete val="1"/>
      </c:legendEntry>
      <c:legendEntry>
        <c:idx val="7"/>
        <c:delete val="1"/>
      </c:legendEntry>
      <c:layout>
        <c:manualLayout>
          <c:xMode val="edge"/>
          <c:yMode val="edge"/>
          <c:x val="2.0733814523184603E-2"/>
          <c:y val="0.50589474817225144"/>
          <c:w val="0.70361542073828087"/>
          <c:h val="0.4663276120453397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accent2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528703304147908E-2"/>
          <c:y val="5.783385909568875E-2"/>
          <c:w val="0.89759231515573012"/>
          <c:h val="0.2012270548200402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[Проект формованных изделий в Толстопальцево с агрочастью ЛИЗИНГ3 МЕЗОНИН3.xlsm]Операционные затраты'!$D$230</c:f>
              <c:strCache>
                <c:ptCount val="1"/>
                <c:pt idx="0">
                  <c:v>Целлюлоза лиственная сульфатная беленая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'[Проект формованных изделий в Толстопальцево с агрочастью ЛИЗИНГ3 МЕЗОНИН3.xlsm]Операционные затраты'!$AS$230</c:f>
              <c:numCache>
                <c:formatCode>General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0-3C4C-4EE1-8FBC-E949C3AF3234}"/>
            </c:ext>
          </c:extLst>
        </c:ser>
        <c:ser>
          <c:idx val="2"/>
          <c:order val="2"/>
          <c:tx>
            <c:strRef>
              <c:f>'[Проект формованных изделий в Толстопальцево с агрочастью ЛИЗИНГ3 МЕЗОНИН3.xlsm]Операционные затраты'!$D$232</c:f>
              <c:strCache>
                <c:ptCount val="1"/>
                <c:pt idx="0">
                  <c:v>Мискантус (солома)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Проект формованных изделий в Толстопальцево с агрочастью ЛИЗИНГ3 МЕЗОНИН3.xlsm]Операционные затраты'!$AS$232</c:f>
              <c:numCache>
                <c:formatCode>_(* #,##0.00_);_(* \(#,##0.00\);_(* "-"??_);_(@_)</c:formatCode>
                <c:ptCount val="1"/>
                <c:pt idx="0">
                  <c:v>6.40000000000000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4C-4EE1-8FBC-E949C3AF3234}"/>
            </c:ext>
          </c:extLst>
        </c:ser>
        <c:ser>
          <c:idx val="3"/>
          <c:order val="3"/>
          <c:tx>
            <c:strRef>
              <c:f>'[Проект формованных изделий в Толстопальцево с агрочастью ЛИЗИНГ3 МЕЗОНИН3.xlsm]Операционные затраты'!$D$233</c:f>
              <c:strCache>
                <c:ptCount val="1"/>
                <c:pt idx="0">
                  <c:v>     - водомаслоотталкинаюшие смолы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Проект формованных изделий в Толстопальцево с агрочастью ЛИЗИНГ3 МЕЗОНИН3.xlsm]Операционные затраты'!$AS$233</c:f>
              <c:numCache>
                <c:formatCode>_(* #,##0.00_);_(* \(#,##0.00\);_(* "-"??_);_(@_)</c:formatCode>
                <c:ptCount val="1"/>
                <c:pt idx="0">
                  <c:v>21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C4C-4EE1-8FBC-E949C3AF3234}"/>
            </c:ext>
          </c:extLst>
        </c:ser>
        <c:ser>
          <c:idx val="4"/>
          <c:order val="4"/>
          <c:tx>
            <c:strRef>
              <c:f>'[Проект формованных изделий в Толстопальцево с агрочастью ЛИЗИНГ3 МЕЗОНИН3.xlsm]Операционные затраты'!$D$234</c:f>
              <c:strCache>
                <c:ptCount val="1"/>
                <c:pt idx="0">
                  <c:v>     - ОЭДФ (100%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val>
            <c:numRef>
              <c:f>'[Проект формованных изделий в Толстопальцево с агрочастью ЛИЗИНГ3 МЕЗОНИН3.xlsm]Операционные затраты'!$AS$234</c:f>
              <c:numCache>
                <c:formatCode>_(* #,##0.00_);_(* \(#,##0.00\);_(* "-"??_);_(@_)</c:formatCode>
                <c:ptCount val="1"/>
                <c:pt idx="0">
                  <c:v>0.30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C4C-4EE1-8FBC-E949C3AF3234}"/>
            </c:ext>
          </c:extLst>
        </c:ser>
        <c:ser>
          <c:idx val="5"/>
          <c:order val="5"/>
          <c:tx>
            <c:strRef>
              <c:f>'[Проект формованных изделий в Толстопальцево с агрочастью ЛИЗИНГ3 МЕЗОНИН3.xlsm]Операционные затраты'!$D$235</c:f>
              <c:strCache>
                <c:ptCount val="1"/>
                <c:pt idx="0">
                  <c:v>     - водоснабжение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val>
            <c:numRef>
              <c:f>'[Проект формованных изделий в Толстопальцево с агрочастью ЛИЗИНГ3 МЕЗОНИН3.xlsm]Операционные затраты'!$AS$235</c:f>
              <c:numCache>
                <c:formatCode>_(* #,##0.00_);_(* \(#,##0.00\);_(* "-"??_);_(@_)</c:formatCode>
                <c:ptCount val="1"/>
                <c:pt idx="0">
                  <c:v>0.233333333333333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C4C-4EE1-8FBC-E949C3AF3234}"/>
            </c:ext>
          </c:extLst>
        </c:ser>
        <c:ser>
          <c:idx val="6"/>
          <c:order val="6"/>
          <c:tx>
            <c:strRef>
              <c:f>'[Проект формованных изделий в Толстопальцево с агрочастью ЛИЗИНГ3 МЕЗОНИН3.xlsm]Операционные затраты'!$D$236</c:f>
              <c:strCache>
                <c:ptCount val="1"/>
                <c:pt idx="0">
                  <c:v>     - электроснабжение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Проект формованных изделий в Толстопальцево с агрочастью ЛИЗИНГ3 МЕЗОНИН3.xlsm]Операционные затраты'!$AS$236</c:f>
              <c:numCache>
                <c:formatCode>_(* #,##0.00_);_(* \(#,##0.00\);_(* "-"??_);_(@_)</c:formatCode>
                <c:ptCount val="1"/>
                <c:pt idx="0">
                  <c:v>14.1604166666666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C4C-4EE1-8FBC-E949C3AF3234}"/>
            </c:ext>
          </c:extLst>
        </c:ser>
        <c:ser>
          <c:idx val="7"/>
          <c:order val="7"/>
          <c:tx>
            <c:strRef>
              <c:f>'[Проект формованных изделий в Толстопальцево с агрочастью ЛИЗИНГ3 МЕЗОНИН3.xlsm]Операционные затраты'!$D$237</c:f>
              <c:strCache>
                <c:ptCount val="1"/>
                <c:pt idx="0">
                  <c:v>     - теплоснабжение (Газ)</c:v>
                </c:pt>
              </c:strCache>
            </c:strRef>
          </c:tx>
          <c:spPr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Проект формованных изделий в Толстопальцево с агрочастью ЛИЗИНГ3 МЕЗОНИН3.xlsm]Операционные затраты'!$AS$237</c:f>
              <c:numCache>
                <c:formatCode>_(* #,##0.00_);_(* \(#,##0.00\);_(* "-"??_);_(@_)</c:formatCode>
                <c:ptCount val="1"/>
                <c:pt idx="0">
                  <c:v>12.6041666666666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C4C-4EE1-8FBC-E949C3AF3234}"/>
            </c:ext>
          </c:extLst>
        </c:ser>
        <c:ser>
          <c:idx val="8"/>
          <c:order val="8"/>
          <c:tx>
            <c:strRef>
              <c:f>'[Проект формованных изделий в Толстопальцево с агрочастью ЛИЗИНГ3 МЕЗОНИН3.xlsm]Операционные затраты'!$D$238</c:f>
              <c:strCache>
                <c:ptCount val="1"/>
                <c:pt idx="0">
                  <c:v>     - кислота серная (94%)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val>
            <c:numRef>
              <c:f>'[Проект формованных изделий в Толстопальцево с агрочастью ЛИЗИНГ3 МЕЗОНИН3.xlsm]Операционные затраты'!$AS$238</c:f>
              <c:numCache>
                <c:formatCode>_(* #,##0.00_);_(* \(#,##0.00\);_(* "-"??_);_(@_)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C4C-4EE1-8FBC-E949C3AF3234}"/>
            </c:ext>
          </c:extLst>
        </c:ser>
        <c:ser>
          <c:idx val="9"/>
          <c:order val="9"/>
          <c:tx>
            <c:strRef>
              <c:f>'[Проект формованных изделий в Толстопальцево с агрочастью ЛИЗИНГ3 МЕЗОНИН3.xlsm]Операционные затраты'!$D$239</c:f>
              <c:strCache>
                <c:ptCount val="1"/>
                <c:pt idx="0">
                  <c:v>     - коагулянт (полиакриламид, 100%)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val>
            <c:numRef>
              <c:f>'[Проект формованных изделий в Толстопальцево с агрочастью ЛИЗИНГ3 МЕЗОНИН3.xlsm]Операционные затраты'!$AS$239</c:f>
              <c:numCache>
                <c:formatCode>_(* #,##0.00_);_(* \(#,##0.00\);_(* "-"??_);_(@_)</c:formatCode>
                <c:ptCount val="1"/>
                <c:pt idx="0">
                  <c:v>2.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C4C-4EE1-8FBC-E949C3AF32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66909464"/>
        <c:axId val="266909856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'[Проект формованных изделий в Толстопальцево с агрочастью ЛИЗИНГ3 МЕЗОНИН3.xlsm]Операционные затраты'!$D$231</c15:sqref>
                        </c15:formulaRef>
                      </c:ext>
                    </c:extLst>
                    <c:strCache>
                      <c:ptCount val="1"/>
                      <c:pt idx="0">
                        <c:v>Целлюлоза из сахарного тростника (Багаса)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val>
                  <c:numRef>
                    <c:extLst>
                      <c:ext uri="{02D57815-91ED-43cb-92C2-25804820EDAC}">
                        <c15:formulaRef>
                          <c15:sqref>'[Проект формованных изделий в Толстопальцево с агрочастью ЛИЗИНГ3 МЕЗОНИН3.xlsm]Операционные затраты'!$AS$231</c15:sqref>
                        </c15:formulaRef>
                      </c:ext>
                    </c:extLst>
                    <c:numCache>
                      <c:formatCode>General</c:formatCode>
                      <c:ptCount val="1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9-3C4C-4EE1-8FBC-E949C3AF3234}"/>
                  </c:ext>
                </c:extLst>
              </c15:ser>
            </c15:filteredBarSeries>
          </c:ext>
        </c:extLst>
      </c:barChart>
      <c:catAx>
        <c:axId val="266909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6909856"/>
        <c:crosses val="autoZero"/>
        <c:auto val="1"/>
        <c:lblAlgn val="ctr"/>
        <c:lblOffset val="100"/>
        <c:noMultiLvlLbl val="0"/>
      </c:catAx>
      <c:valAx>
        <c:axId val="266909856"/>
        <c:scaling>
          <c:orientation val="minMax"/>
          <c:max val="14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6909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egendEntry>
        <c:idx val="3"/>
        <c:delete val="1"/>
      </c:legendEntry>
      <c:legendEntry>
        <c:idx val="7"/>
        <c:delete val="1"/>
      </c:legendEntry>
      <c:legendEntry>
        <c:idx val="8"/>
        <c:delete val="1"/>
      </c:legendEntry>
      <c:layout>
        <c:manualLayout>
          <c:xMode val="edge"/>
          <c:yMode val="edge"/>
          <c:x val="2.0733917762508908E-2"/>
          <c:y val="0.47960663040148382"/>
          <c:w val="0.55917104111986005"/>
          <c:h val="0.4032361293954974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accent2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4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98" tIns="45199" rIns="90398" bIns="45199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6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98" tIns="45199" rIns="90398" bIns="4519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6618EAAE-008F-4E48-BEBA-B195862C1C06}" type="datetimeFigureOut">
              <a:rPr lang="ru-RU"/>
              <a:pPr>
                <a:defRPr/>
              </a:pPr>
              <a:t>27.09.2020</a:t>
            </a:fld>
            <a:endParaRPr lang="ru-RU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8900" y="744538"/>
            <a:ext cx="6619875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790"/>
            <a:ext cx="5438140" cy="4468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98" tIns="45199" rIns="90398" bIns="4519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215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0013"/>
            <a:ext cx="2945659" cy="496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98" tIns="45199" rIns="90398" bIns="45199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15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30013"/>
            <a:ext cx="2945659" cy="496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98" tIns="45199" rIns="90398" bIns="4519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fld id="{08734962-CED4-4981-AA76-5F271656E31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1041991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14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29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44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592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5740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88900" y="744538"/>
            <a:ext cx="6619875" cy="3724275"/>
          </a:xfrm>
          <a:ln/>
        </p:spPr>
      </p:sp>
      <p:sp>
        <p:nvSpPr>
          <p:cNvPr id="5632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5632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4480" indent="-282492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9970" indent="-225994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81958" indent="-225994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33946" indent="-225994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85934" indent="-2259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37921" indent="-2259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89909" indent="-2259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41897" indent="-2259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E3639A9-50C7-47F8-831D-2723DD0C7650}" type="slidenum">
              <a:rPr lang="de-DE" altLang="ru-RU" smtClean="0">
                <a:solidFill>
                  <a:srgbClr val="000000"/>
                </a:solidFill>
                <a:latin typeface="Calibri" panose="020F0502020204030204" pitchFamily="34" charset="0"/>
              </a:rPr>
              <a:pPr/>
              <a:t>0</a:t>
            </a:fld>
            <a:endParaRPr lang="de-DE" altLang="ru-RU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0390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7B995-136A-4A15-87A5-26420C3C1021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4541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35394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6200" y="754063"/>
            <a:ext cx="6705600" cy="3773487"/>
          </a:xfrm>
          <a:ln/>
        </p:spPr>
      </p:sp>
      <p:sp>
        <p:nvSpPr>
          <p:cNvPr id="5632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5632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E3639A9-50C7-47F8-831D-2723DD0C7650}" type="slidenum">
              <a:rPr kumimoji="0" lang="de-DE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47793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6200" y="754063"/>
            <a:ext cx="6705600" cy="3773487"/>
          </a:xfrm>
          <a:ln/>
        </p:spPr>
      </p:sp>
      <p:sp>
        <p:nvSpPr>
          <p:cNvPr id="5632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5632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E3639A9-50C7-47F8-831D-2723DD0C7650}" type="slidenum">
              <a:rPr kumimoji="0" lang="de-DE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51719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6200" y="754063"/>
            <a:ext cx="6705600" cy="3773487"/>
          </a:xfrm>
          <a:ln/>
        </p:spPr>
      </p:sp>
      <p:sp>
        <p:nvSpPr>
          <p:cNvPr id="5632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5632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E3639A9-50C7-47F8-831D-2723DD0C7650}" type="slidenum">
              <a:rPr kumimoji="0" lang="de-DE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e-DE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8319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6200" y="754063"/>
            <a:ext cx="6705600" cy="3773487"/>
          </a:xfrm>
          <a:ln/>
        </p:spPr>
      </p:sp>
      <p:sp>
        <p:nvSpPr>
          <p:cNvPr id="5632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5632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E3639A9-50C7-47F8-831D-2723DD0C7650}" type="slidenum">
              <a:rPr kumimoji="0" lang="de-DE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e-DE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40181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6200" y="754063"/>
            <a:ext cx="6705600" cy="3773487"/>
          </a:xfrm>
          <a:ln/>
        </p:spPr>
      </p:sp>
      <p:sp>
        <p:nvSpPr>
          <p:cNvPr id="5632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5632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E3639A9-50C7-47F8-831D-2723DD0C7650}" type="slidenum">
              <a:rPr kumimoji="0" lang="de-DE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DE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31808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6200" y="754063"/>
            <a:ext cx="6705600" cy="3773487"/>
          </a:xfrm>
          <a:ln/>
        </p:spPr>
      </p:sp>
      <p:sp>
        <p:nvSpPr>
          <p:cNvPr id="5632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5632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E3639A9-50C7-47F8-831D-2723DD0C7650}" type="slidenum">
              <a:rPr kumimoji="0" lang="de-DE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DE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51290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6FE1BAC-899E-40B7-860B-8DD578C40D10}" type="datetime1">
              <a:rPr lang="ru-RU" smtClean="0"/>
              <a:t>27.09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DE09145D-E08B-4EF4-A03F-B662F78DAA7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039307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DA31DEFC-BBE6-4513-8B18-B1F5231E8278}" type="datetime1">
              <a:rPr lang="ru-RU" smtClean="0"/>
              <a:t>27.09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77A18FA1-0773-4E65-9A83-FEFEAD84E7D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573930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22104B74-BC75-4C45-93B5-C65CDAB3984B}" type="datetime1">
              <a:rPr lang="ru-RU" smtClean="0"/>
              <a:t>27.09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17A572BF-D03C-4EEB-99DA-0AE68DDD193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951042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609600" y="274640"/>
            <a:ext cx="10972800" cy="5851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51F253-CAD6-4377-BF83-F224DACDA8A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88616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32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7/2020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195910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Optio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75" y="230862"/>
            <a:ext cx="11704320" cy="6394139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727200" y="4710000"/>
            <a:ext cx="8784000" cy="900000"/>
          </a:xfrm>
          <a:prstGeom prst="rect">
            <a:avLst/>
          </a:prstGeom>
        </p:spPr>
        <p:txBody>
          <a:bodyPr/>
          <a:lstStyle>
            <a:lvl1pPr algn="ctr">
              <a:lnSpc>
                <a:spcPct val="90000"/>
              </a:lnSpc>
              <a:defRPr sz="2000" b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27200" y="5628000"/>
            <a:ext cx="8784000" cy="468000"/>
          </a:xfrm>
        </p:spPr>
        <p:txBody>
          <a:bodyPr wrap="none" lIns="0" tIns="0" rIns="0" bIns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600" b="0" i="0" cap="none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ADD subtitle </a:t>
            </a:r>
          </a:p>
        </p:txBody>
      </p:sp>
    </p:spTree>
    <p:extLst>
      <p:ext uri="{BB962C8B-B14F-4D97-AF65-F5344CB8AC3E}">
        <p14:creationId xmlns:p14="http://schemas.microsoft.com/office/powerpoint/2010/main" val="13851707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Optio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357" y="230862"/>
            <a:ext cx="11688756" cy="6394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1382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Optio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357" y="230860"/>
            <a:ext cx="11688755" cy="6394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816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er_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61" y="228601"/>
            <a:ext cx="11711124" cy="6114523"/>
          </a:xfrm>
          <a:prstGeom prst="rect">
            <a:avLst/>
          </a:prstGeom>
        </p:spPr>
      </p:pic>
      <p:sp>
        <p:nvSpPr>
          <p:cNvPr id="1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238760" y="1219200"/>
            <a:ext cx="11711125" cy="533400"/>
          </a:xfrm>
        </p:spPr>
        <p:txBody>
          <a:bodyPr lIns="0" tIns="0" rIns="0" bIns="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850E"/>
              </a:buClr>
              <a:buSzPct val="110000"/>
              <a:buFontTx/>
              <a:buNone/>
              <a:tabLst/>
              <a:defRPr sz="1800" b="1" baseline="0">
                <a:solidFill>
                  <a:srgbClr val="FF850E"/>
                </a:solidFill>
              </a:defRPr>
            </a:lvl1pPr>
          </a:lstStyle>
          <a:p>
            <a:r>
              <a:rPr lang="en-GB" noProof="0"/>
              <a:t>SPACE FOR SHORT SUMMARY, 1 SENTENCE, ALL CAPS, NO DOT AT THE END </a:t>
            </a:r>
            <a:endParaRPr lang="en-GB" noProof="0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812800" y="475200"/>
            <a:ext cx="108432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618362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F756EBE8-8497-44B5-831E-951367E11183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531962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531962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1" name="Picture 23" descr="Pöyry_logo_30_m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867" y="6400800"/>
            <a:ext cx="1727200" cy="381000"/>
          </a:xfrm>
          <a:prstGeom prst="rect">
            <a:avLst/>
          </a:prstGeom>
          <a:noFill/>
        </p:spPr>
      </p:pic>
      <p:sp>
        <p:nvSpPr>
          <p:cNvPr id="22" name="Rectangle 25"/>
          <p:cNvSpPr>
            <a:spLocks noChangeArrowheads="1"/>
          </p:cNvSpPr>
          <p:nvPr userDrawn="1"/>
        </p:nvSpPr>
        <p:spPr bwMode="auto">
          <a:xfrm>
            <a:off x="5544610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>
                <a:solidFill>
                  <a:schemeClr val="bg1">
                    <a:lumMod val="50000"/>
                  </a:schemeClr>
                </a:solidFill>
              </a:rPr>
              <a:t>COPYRIGHT©PÖYRY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711200" y="2133600"/>
            <a:ext cx="10871200" cy="3733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0989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ner_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61" y="228601"/>
            <a:ext cx="11711124" cy="6114523"/>
          </a:xfrm>
          <a:prstGeom prst="rect">
            <a:avLst/>
          </a:prstGeom>
        </p:spPr>
      </p:pic>
      <p:sp>
        <p:nvSpPr>
          <p:cNvPr id="15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14919" y="931200"/>
            <a:ext cx="10665883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pace for short optional subtitle, 1 sentence, 1-2 lines, no dot at the end 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812800" y="475200"/>
            <a:ext cx="108432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618362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227C28B9-494E-476D-A916-DC0DAB99DDCB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531962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531962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9" name="Picture 23" descr="Pöyry_logo_30_m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867" y="6400800"/>
            <a:ext cx="1727200" cy="381000"/>
          </a:xfrm>
          <a:prstGeom prst="rect">
            <a:avLst/>
          </a:prstGeom>
          <a:noFill/>
        </p:spPr>
      </p:pic>
      <p:sp>
        <p:nvSpPr>
          <p:cNvPr id="20" name="Rectangle 25"/>
          <p:cNvSpPr>
            <a:spLocks noChangeArrowheads="1"/>
          </p:cNvSpPr>
          <p:nvPr userDrawn="1"/>
        </p:nvSpPr>
        <p:spPr bwMode="auto">
          <a:xfrm>
            <a:off x="5544610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>
                <a:solidFill>
                  <a:schemeClr val="bg1">
                    <a:lumMod val="50000"/>
                  </a:schemeClr>
                </a:solidFill>
              </a:rPr>
              <a:t>COPYRIGHT©PÖYRY</a:t>
            </a:r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3"/>
          </p:nvPr>
        </p:nvSpPr>
        <p:spPr>
          <a:xfrm>
            <a:off x="711200" y="1632000"/>
            <a:ext cx="5184000" cy="4464000"/>
          </a:xfrm>
        </p:spPr>
        <p:txBody>
          <a:bodyPr lIns="0" tIns="0" rIns="0" bIns="0"/>
          <a:lstStyle>
            <a:lvl1pPr marL="180975" indent="-180975">
              <a:buClr>
                <a:srgbClr val="FF850E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450000" indent="-180975">
              <a:buClr>
                <a:srgbClr val="FF850E"/>
              </a:buClr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720000" indent="-180000">
              <a:buClr>
                <a:srgbClr val="FF850E"/>
              </a:buClr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3pPr>
            <a:lvl4pPr marL="989013" indent="-180975">
              <a:buClr>
                <a:srgbClr val="FF850E"/>
              </a:buClr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4pPr>
            <a:lvl5pPr marL="1260000" indent="-180975">
              <a:buClr>
                <a:srgbClr val="FF850E"/>
              </a:buClr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814917" y="1295400"/>
            <a:ext cx="10769600" cy="0"/>
          </a:xfrm>
          <a:prstGeom prst="line">
            <a:avLst/>
          </a:prstGeom>
          <a:ln w="190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199717" y="1676400"/>
            <a:ext cx="5384800" cy="44196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7362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er_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61" y="228601"/>
            <a:ext cx="11711124" cy="6114523"/>
          </a:xfrm>
          <a:prstGeom prst="rect">
            <a:avLst/>
          </a:prstGeom>
        </p:spPr>
      </p:pic>
      <p:sp>
        <p:nvSpPr>
          <p:cNvPr id="15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14919" y="931200"/>
            <a:ext cx="10665883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pace for short optional subtitle, 1 sentence, 1-2 lines, no dot at the end 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812800" y="475200"/>
            <a:ext cx="108432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618362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227C28B9-494E-476D-A916-DC0DAB99DDCB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531962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531962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9" name="Picture 23" descr="Pöyry_logo_30_m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867" y="6400800"/>
            <a:ext cx="1727200" cy="381000"/>
          </a:xfrm>
          <a:prstGeom prst="rect">
            <a:avLst/>
          </a:prstGeom>
          <a:noFill/>
        </p:spPr>
      </p:pic>
      <p:sp>
        <p:nvSpPr>
          <p:cNvPr id="20" name="Rectangle 25"/>
          <p:cNvSpPr>
            <a:spLocks noChangeArrowheads="1"/>
          </p:cNvSpPr>
          <p:nvPr userDrawn="1"/>
        </p:nvSpPr>
        <p:spPr bwMode="auto">
          <a:xfrm>
            <a:off x="5544610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>
                <a:solidFill>
                  <a:schemeClr val="bg1">
                    <a:lumMod val="50000"/>
                  </a:schemeClr>
                </a:solidFill>
              </a:rPr>
              <a:t>COPYRIGHT©PÖYRY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6279232" y="1632000"/>
            <a:ext cx="5232000" cy="4464000"/>
          </a:xfrm>
        </p:spPr>
        <p:txBody>
          <a:bodyPr lIns="0" tIns="0" rIns="0" bIns="0"/>
          <a:lstStyle>
            <a:lvl1pPr marL="180975" indent="-180975">
              <a:buClr>
                <a:srgbClr val="FF850E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450000" indent="-180975">
              <a:buClr>
                <a:srgbClr val="FF850E"/>
              </a:buClr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720000" indent="-180000">
              <a:buClr>
                <a:srgbClr val="FF850E"/>
              </a:buClr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3pPr>
            <a:lvl4pPr marL="989013" indent="-180975">
              <a:buClr>
                <a:srgbClr val="FF850E"/>
              </a:buClr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4pPr>
            <a:lvl5pPr marL="1260000" indent="-180975">
              <a:buClr>
                <a:srgbClr val="FF850E"/>
              </a:buClr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3"/>
          </p:nvPr>
        </p:nvSpPr>
        <p:spPr>
          <a:xfrm>
            <a:off x="711200" y="1632000"/>
            <a:ext cx="5184000" cy="4464000"/>
          </a:xfrm>
        </p:spPr>
        <p:txBody>
          <a:bodyPr lIns="0" tIns="0" rIns="0" bIns="0"/>
          <a:lstStyle>
            <a:lvl1pPr marL="180975" indent="-180975">
              <a:buClr>
                <a:srgbClr val="FF850E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450000" indent="-180975">
              <a:buClr>
                <a:srgbClr val="FF850E"/>
              </a:buClr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720000" indent="-180000">
              <a:buClr>
                <a:srgbClr val="FF850E"/>
              </a:buClr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3pPr>
            <a:lvl4pPr marL="989013" indent="-180975">
              <a:buClr>
                <a:srgbClr val="FF850E"/>
              </a:buClr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4pPr>
            <a:lvl5pPr marL="1260000" indent="-180975">
              <a:buClr>
                <a:srgbClr val="FF850E"/>
              </a:buClr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814917" y="1295400"/>
            <a:ext cx="10769600" cy="0"/>
          </a:xfrm>
          <a:prstGeom prst="line">
            <a:avLst/>
          </a:prstGeom>
          <a:ln w="190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96824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AE8EBD9E-6D8B-412B-891A-60F6EEE4C7AB}" type="datetime1">
              <a:rPr lang="ru-RU" smtClean="0"/>
              <a:t>27.09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2932BE8D-8D3A-403D-A5C7-F36F9E39D8D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57102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r_Slid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61" y="228601"/>
            <a:ext cx="11711124" cy="6114523"/>
          </a:xfrm>
          <a:prstGeom prst="rect">
            <a:avLst/>
          </a:prstGeom>
        </p:spPr>
      </p:pic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618362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8B92D455-9ACD-4F2A-9D40-539DDEF6928B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531962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531962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23" descr="Pöyry_logo_30_m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867" y="6400800"/>
            <a:ext cx="1727200" cy="381000"/>
          </a:xfrm>
          <a:prstGeom prst="rect">
            <a:avLst/>
          </a:prstGeom>
          <a:noFill/>
        </p:spPr>
      </p:pic>
      <p:sp>
        <p:nvSpPr>
          <p:cNvPr id="11" name="Rectangle 25"/>
          <p:cNvSpPr>
            <a:spLocks noChangeArrowheads="1"/>
          </p:cNvSpPr>
          <p:nvPr userDrawn="1"/>
        </p:nvSpPr>
        <p:spPr bwMode="auto">
          <a:xfrm>
            <a:off x="5544610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>
                <a:solidFill>
                  <a:schemeClr val="bg1">
                    <a:lumMod val="50000"/>
                  </a:schemeClr>
                </a:solidFill>
              </a:rPr>
              <a:t>COPYRIGHT©PÖYRY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14919" y="931200"/>
            <a:ext cx="10665883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pace for short optional subtitle, 1 sentence, 1-2 lines, no dot at the end 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812800" y="475200"/>
            <a:ext cx="108432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814917" y="1295400"/>
            <a:ext cx="10769600" cy="0"/>
          </a:xfrm>
          <a:prstGeom prst="line">
            <a:avLst/>
          </a:prstGeom>
          <a:ln w="190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711200" y="1627200"/>
            <a:ext cx="10843200" cy="4464000"/>
          </a:xfrm>
        </p:spPr>
        <p:txBody>
          <a:bodyPr lIns="0" tIns="0" rIns="0" bIns="0">
            <a:noAutofit/>
          </a:bodyPr>
          <a:lstStyle>
            <a:lvl1pPr marL="285750" indent="-285750">
              <a:buClr>
                <a:srgbClr val="FF850E"/>
              </a:buClr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1pPr>
            <a:lvl2pPr marL="554775" indent="-285750">
              <a:buClr>
                <a:srgbClr val="FF850E"/>
              </a:buClr>
              <a:buFont typeface="Century Gothic" panose="020B0502020202020204" pitchFamily="34" charset="0"/>
              <a:buChar char="―"/>
              <a:defRPr b="0">
                <a:solidFill>
                  <a:schemeClr val="bg1"/>
                </a:solidFill>
              </a:defRPr>
            </a:lvl2pPr>
            <a:lvl3pPr marL="825750" indent="-285750">
              <a:buClr>
                <a:srgbClr val="FF850E"/>
              </a:buClr>
              <a:buFont typeface="Century Gothic" panose="020B0502020202020204" pitchFamily="34" charset="0"/>
              <a:buChar char="―"/>
              <a:defRPr b="0">
                <a:solidFill>
                  <a:schemeClr val="bg1"/>
                </a:solidFill>
              </a:defRPr>
            </a:lvl3pPr>
            <a:lvl4pPr marL="1093788" indent="-285750">
              <a:buClr>
                <a:srgbClr val="FF850E"/>
              </a:buClr>
              <a:buFont typeface="Century Gothic" panose="020B0502020202020204" pitchFamily="34" charset="0"/>
              <a:buChar char="―"/>
              <a:defRPr b="0">
                <a:solidFill>
                  <a:schemeClr val="bg1"/>
                </a:solidFill>
              </a:defRPr>
            </a:lvl4pPr>
            <a:lvl5pPr marL="1364775" indent="-285750">
              <a:buClr>
                <a:srgbClr val="FF850E"/>
              </a:buClr>
              <a:buFont typeface="Century Gothic" panose="020B0502020202020204" pitchFamily="34" charset="0"/>
              <a:buChar char="―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033225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ner_Slide_3+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61" y="228601"/>
            <a:ext cx="11711124" cy="6114523"/>
          </a:xfrm>
          <a:prstGeom prst="rect">
            <a:avLst/>
          </a:prstGeom>
        </p:spPr>
      </p:pic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618362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8B92D455-9ACD-4F2A-9D40-539DDEF6928B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531962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531962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23" descr="Pöyry_logo_30_m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867" y="6400800"/>
            <a:ext cx="1727200" cy="381000"/>
          </a:xfrm>
          <a:prstGeom prst="rect">
            <a:avLst/>
          </a:prstGeom>
          <a:noFill/>
        </p:spPr>
      </p:pic>
      <p:sp>
        <p:nvSpPr>
          <p:cNvPr id="11" name="Rectangle 25"/>
          <p:cNvSpPr>
            <a:spLocks noChangeArrowheads="1"/>
          </p:cNvSpPr>
          <p:nvPr userDrawn="1"/>
        </p:nvSpPr>
        <p:spPr bwMode="auto">
          <a:xfrm>
            <a:off x="5544610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>
                <a:solidFill>
                  <a:schemeClr val="bg1">
                    <a:lumMod val="50000"/>
                  </a:schemeClr>
                </a:solidFill>
              </a:rPr>
              <a:t>COPYRIGHT©PÖYRY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812800" y="475200"/>
            <a:ext cx="108432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815746" y="836712"/>
            <a:ext cx="10849205" cy="0"/>
          </a:xfrm>
          <a:prstGeom prst="line">
            <a:avLst/>
          </a:prstGeom>
          <a:ln w="190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72353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er_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61" y="228600"/>
            <a:ext cx="11711124" cy="6114522"/>
          </a:xfrm>
          <a:prstGeom prst="rect">
            <a:avLst/>
          </a:prstGeom>
        </p:spPr>
      </p:pic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618362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A871EF76-E46D-406B-AEC4-5F9BCAE0A97A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531962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531962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23" descr="Pöyry_logo_30_m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867" y="6400800"/>
            <a:ext cx="1727200" cy="381000"/>
          </a:xfrm>
          <a:prstGeom prst="rect">
            <a:avLst/>
          </a:prstGeom>
          <a:noFill/>
        </p:spPr>
      </p:pic>
      <p:sp>
        <p:nvSpPr>
          <p:cNvPr id="11" name="Rectangle 25"/>
          <p:cNvSpPr>
            <a:spLocks noChangeArrowheads="1"/>
          </p:cNvSpPr>
          <p:nvPr userDrawn="1"/>
        </p:nvSpPr>
        <p:spPr bwMode="auto">
          <a:xfrm>
            <a:off x="5544610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>
                <a:solidFill>
                  <a:schemeClr val="bg1">
                    <a:lumMod val="50000"/>
                  </a:schemeClr>
                </a:solidFill>
              </a:rPr>
              <a:t>COPYRIGHT©PÖYRY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238760" y="1219200"/>
            <a:ext cx="11711125" cy="533400"/>
          </a:xfrm>
        </p:spPr>
        <p:txBody>
          <a:bodyPr lIns="0" tIns="0" rIns="0" bIns="0" anchor="ctr">
            <a:noAutofit/>
          </a:bodyPr>
          <a:lstStyle>
            <a:lvl1pPr marL="0" indent="0" algn="ctr">
              <a:buFontTx/>
              <a:buNone/>
              <a:defRPr sz="1800" b="1" baseline="0">
                <a:solidFill>
                  <a:srgbClr val="FF850E"/>
                </a:solidFill>
              </a:defRPr>
            </a:lvl1pPr>
          </a:lstStyle>
          <a:p>
            <a:r>
              <a:rPr lang="en-GB" noProof="0" dirty="0"/>
              <a:t>SPACE FOR SHORT SUMMARY, 1 SENTENCE, ALL CAPS, NO DOT AT THE END 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812800" y="475200"/>
            <a:ext cx="108432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7" name="Chart Placeholder 2"/>
          <p:cNvSpPr>
            <a:spLocks noGrp="1"/>
          </p:cNvSpPr>
          <p:nvPr>
            <p:ph type="chart" sz="quarter" idx="16"/>
          </p:nvPr>
        </p:nvSpPr>
        <p:spPr>
          <a:xfrm>
            <a:off x="711200" y="2133600"/>
            <a:ext cx="10871200" cy="37338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9487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er_Slid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61" y="228601"/>
            <a:ext cx="11711124" cy="6114523"/>
          </a:xfrm>
          <a:prstGeom prst="rect">
            <a:avLst/>
          </a:prstGeom>
        </p:spPr>
      </p:pic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618362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7735E36D-1B70-4483-BAC9-CB8ABAF18228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531962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531962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23" descr="Pöyry_logo_30_m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867" y="6400800"/>
            <a:ext cx="1727200" cy="381000"/>
          </a:xfrm>
          <a:prstGeom prst="rect">
            <a:avLst/>
          </a:prstGeom>
          <a:noFill/>
        </p:spPr>
      </p:pic>
      <p:sp>
        <p:nvSpPr>
          <p:cNvPr id="11" name="Rectangle 25"/>
          <p:cNvSpPr>
            <a:spLocks noChangeArrowheads="1"/>
          </p:cNvSpPr>
          <p:nvPr userDrawn="1"/>
        </p:nvSpPr>
        <p:spPr bwMode="auto">
          <a:xfrm>
            <a:off x="5039785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>
                <a:solidFill>
                  <a:schemeClr val="bg1">
                    <a:lumMod val="50000"/>
                  </a:schemeClr>
                </a:solidFill>
              </a:rPr>
              <a:t>COPYRIGHT©PÖYRY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14919" y="931200"/>
            <a:ext cx="10665883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pace for short optional subtitle, 1 sentence, 1-2 lines, no dot at the end </a:t>
            </a:r>
          </a:p>
        </p:txBody>
      </p:sp>
      <p:sp>
        <p:nvSpPr>
          <p:cNvPr id="24" name="Title Placeholder 1"/>
          <p:cNvSpPr>
            <a:spLocks noGrp="1"/>
          </p:cNvSpPr>
          <p:nvPr>
            <p:ph type="title"/>
          </p:nvPr>
        </p:nvSpPr>
        <p:spPr>
          <a:xfrm>
            <a:off x="812800" y="475200"/>
            <a:ext cx="108432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23" name="Content Placeholder 8"/>
          <p:cNvSpPr>
            <a:spLocks noGrp="1"/>
          </p:cNvSpPr>
          <p:nvPr>
            <p:ph sz="quarter" idx="21" hasCustomPrompt="1"/>
          </p:nvPr>
        </p:nvSpPr>
        <p:spPr>
          <a:xfrm>
            <a:off x="6235206" y="4353655"/>
            <a:ext cx="5325532" cy="1800000"/>
          </a:xfrm>
        </p:spPr>
        <p:txBody>
          <a:bodyPr>
            <a:normAutofit/>
          </a:bodyPr>
          <a:lstStyle>
            <a:lvl1pPr algn="l">
              <a:buClr>
                <a:srgbClr val="FF850E"/>
              </a:buClr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35214" y="1600200"/>
            <a:ext cx="5324605" cy="295200"/>
          </a:xfrm>
          <a:solidFill>
            <a:srgbClr val="FF850E"/>
          </a:solidFill>
        </p:spPr>
        <p:txBody>
          <a:bodyPr lIns="36000" anchor="ctr">
            <a:noAutofit/>
          </a:bodyPr>
          <a:lstStyle>
            <a:lvl1pPr marL="0" indent="0" algn="l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711200" y="1600200"/>
            <a:ext cx="5280000" cy="295200"/>
          </a:xfrm>
          <a:solidFill>
            <a:srgbClr val="FF850E"/>
          </a:solidFill>
        </p:spPr>
        <p:txBody>
          <a:bodyPr lIns="36000" anchor="ctr">
            <a:noAutofit/>
          </a:bodyPr>
          <a:lstStyle>
            <a:lvl1pPr marL="0" indent="0" algn="l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2" name="Content Placeholder 8"/>
          <p:cNvSpPr>
            <a:spLocks noGrp="1"/>
          </p:cNvSpPr>
          <p:nvPr>
            <p:ph sz="quarter" idx="20" hasCustomPrompt="1"/>
          </p:nvPr>
        </p:nvSpPr>
        <p:spPr>
          <a:xfrm>
            <a:off x="711200" y="4353655"/>
            <a:ext cx="5280587" cy="1800000"/>
          </a:xfrm>
        </p:spPr>
        <p:txBody>
          <a:bodyPr>
            <a:normAutofit/>
          </a:bodyPr>
          <a:lstStyle>
            <a:lvl1pPr algn="l">
              <a:buClr>
                <a:srgbClr val="FF850E"/>
              </a:buClr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814917" y="1295400"/>
            <a:ext cx="10769600" cy="0"/>
          </a:xfrm>
          <a:prstGeom prst="line">
            <a:avLst/>
          </a:prstGeom>
          <a:ln w="190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8"/>
          <p:cNvSpPr>
            <a:spLocks noGrp="1"/>
          </p:cNvSpPr>
          <p:nvPr>
            <p:ph sz="quarter" idx="17" hasCustomPrompt="1"/>
          </p:nvPr>
        </p:nvSpPr>
        <p:spPr>
          <a:xfrm>
            <a:off x="6235206" y="1969896"/>
            <a:ext cx="5325532" cy="1800000"/>
          </a:xfrm>
        </p:spPr>
        <p:txBody>
          <a:bodyPr>
            <a:normAutofit/>
          </a:bodyPr>
          <a:lstStyle>
            <a:lvl1pPr algn="l">
              <a:buClr>
                <a:srgbClr val="FF850E"/>
              </a:buClr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6235206" y="3976464"/>
            <a:ext cx="5325532" cy="295200"/>
          </a:xfrm>
          <a:solidFill>
            <a:srgbClr val="52ADD5"/>
          </a:solidFill>
        </p:spPr>
        <p:txBody>
          <a:bodyPr lIns="36000" anchor="ctr">
            <a:noAutofit/>
          </a:bodyPr>
          <a:lstStyle>
            <a:lvl1pPr marL="0" indent="0" algn="l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30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711200" y="1969896"/>
            <a:ext cx="5280587" cy="1800000"/>
          </a:xfrm>
        </p:spPr>
        <p:txBody>
          <a:bodyPr>
            <a:normAutofit/>
          </a:bodyPr>
          <a:lstStyle>
            <a:lvl1pPr algn="l">
              <a:buClr>
                <a:srgbClr val="FF850E"/>
              </a:buClr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711200" y="3976464"/>
            <a:ext cx="5280000" cy="295200"/>
          </a:xfrm>
          <a:solidFill>
            <a:srgbClr val="52ADD5"/>
          </a:solidFill>
        </p:spPr>
        <p:txBody>
          <a:bodyPr lIns="36000" anchor="ctr">
            <a:noAutofit/>
          </a:bodyPr>
          <a:lstStyle>
            <a:lvl1pPr marL="0" indent="0" algn="l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</p:spTree>
    <p:extLst>
      <p:ext uri="{BB962C8B-B14F-4D97-AF65-F5344CB8AC3E}">
        <p14:creationId xmlns:p14="http://schemas.microsoft.com/office/powerpoint/2010/main" val="16257462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er_Slid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61" y="228601"/>
            <a:ext cx="11711124" cy="6114523"/>
          </a:xfrm>
          <a:prstGeom prst="rect">
            <a:avLst/>
          </a:prstGeom>
        </p:spPr>
      </p:pic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618362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85B23D7C-6DA0-47F5-824E-C980D2719A44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531962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531962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23" descr="Pöyry_logo_30_m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867" y="6400800"/>
            <a:ext cx="1727200" cy="381000"/>
          </a:xfrm>
          <a:prstGeom prst="rect">
            <a:avLst/>
          </a:prstGeom>
          <a:noFill/>
        </p:spPr>
      </p:pic>
      <p:sp>
        <p:nvSpPr>
          <p:cNvPr id="11" name="Rectangle 25"/>
          <p:cNvSpPr>
            <a:spLocks noChangeArrowheads="1"/>
          </p:cNvSpPr>
          <p:nvPr userDrawn="1"/>
        </p:nvSpPr>
        <p:spPr bwMode="auto">
          <a:xfrm>
            <a:off x="5039785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>
                <a:solidFill>
                  <a:schemeClr val="bg1">
                    <a:lumMod val="50000"/>
                  </a:schemeClr>
                </a:solidFill>
              </a:rPr>
              <a:t>COPYRIGHT©PÖYRY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14919" y="931200"/>
            <a:ext cx="10665883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pace for short optional subtitle, 1 sentence, 1-2 lines, no dot at the end 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812800" y="475200"/>
            <a:ext cx="108432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815415" y="1628801"/>
            <a:ext cx="5280587" cy="4464025"/>
          </a:xfrm>
        </p:spPr>
        <p:txBody>
          <a:bodyPr>
            <a:normAutofit/>
          </a:bodyPr>
          <a:lstStyle>
            <a:lvl1pPr algn="l">
              <a:buClr>
                <a:srgbClr val="FF850E"/>
              </a:buCl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6339419" y="1628800"/>
            <a:ext cx="5325533" cy="296044"/>
          </a:xfrm>
          <a:solidFill>
            <a:srgbClr val="FF850E"/>
          </a:solidFill>
        </p:spPr>
        <p:txBody>
          <a:bodyPr lIns="36000" tIns="0" anchor="ctr" anchorCtr="0">
            <a:normAutofit/>
          </a:bodyPr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6339419" y="3933056"/>
            <a:ext cx="5325533" cy="296044"/>
          </a:xfrm>
          <a:solidFill>
            <a:srgbClr val="52ADD5"/>
          </a:solidFill>
        </p:spPr>
        <p:txBody>
          <a:bodyPr lIns="36000" tIns="0" anchor="ctr" anchorCtr="0">
            <a:normAutofit/>
          </a:bodyPr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7" name="Content Placeholder 8"/>
          <p:cNvSpPr>
            <a:spLocks noGrp="1"/>
          </p:cNvSpPr>
          <p:nvPr>
            <p:ph sz="quarter" idx="24" hasCustomPrompt="1"/>
          </p:nvPr>
        </p:nvSpPr>
        <p:spPr>
          <a:xfrm>
            <a:off x="6339418" y="4293096"/>
            <a:ext cx="5325533" cy="1802904"/>
          </a:xfrm>
        </p:spPr>
        <p:txBody>
          <a:bodyPr>
            <a:normAutofit/>
          </a:bodyPr>
          <a:lstStyle>
            <a:lvl1pPr algn="l">
              <a:buClr>
                <a:srgbClr val="FF850E"/>
              </a:buClr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8" name="Content Placeholder 8"/>
          <p:cNvSpPr>
            <a:spLocks noGrp="1"/>
          </p:cNvSpPr>
          <p:nvPr>
            <p:ph sz="quarter" idx="25" hasCustomPrompt="1"/>
          </p:nvPr>
        </p:nvSpPr>
        <p:spPr>
          <a:xfrm>
            <a:off x="6339418" y="1988840"/>
            <a:ext cx="5325533" cy="1728192"/>
          </a:xfrm>
        </p:spPr>
        <p:txBody>
          <a:bodyPr>
            <a:normAutofit/>
          </a:bodyPr>
          <a:lstStyle>
            <a:lvl1pPr algn="l">
              <a:buClr>
                <a:srgbClr val="FF850E"/>
              </a:buClr>
              <a:defRPr sz="1600" b="0" baseline="0">
                <a:solidFill>
                  <a:schemeClr val="bg1"/>
                </a:solidFill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en-GB" noProof="0" dirty="0"/>
              <a:t>Click to edit text 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812800" y="1295400"/>
            <a:ext cx="10769600" cy="0"/>
          </a:xfrm>
          <a:prstGeom prst="line">
            <a:avLst/>
          </a:prstGeom>
          <a:ln w="190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30182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er_Slide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61" y="228601"/>
            <a:ext cx="11711124" cy="6114523"/>
          </a:xfrm>
          <a:prstGeom prst="rect">
            <a:avLst/>
          </a:prstGeom>
        </p:spPr>
      </p:pic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618362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65A813AA-B363-4EFD-8BB6-22AE4C1F6659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531962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531962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23" descr="Pöyry_logo_30_m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867" y="6400800"/>
            <a:ext cx="1727200" cy="381000"/>
          </a:xfrm>
          <a:prstGeom prst="rect">
            <a:avLst/>
          </a:prstGeom>
          <a:noFill/>
        </p:spPr>
      </p:pic>
      <p:sp>
        <p:nvSpPr>
          <p:cNvPr id="11" name="Rectangle 25"/>
          <p:cNvSpPr>
            <a:spLocks noChangeArrowheads="1"/>
          </p:cNvSpPr>
          <p:nvPr userDrawn="1"/>
        </p:nvSpPr>
        <p:spPr bwMode="auto">
          <a:xfrm>
            <a:off x="5039785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>
                <a:solidFill>
                  <a:schemeClr val="bg1">
                    <a:lumMod val="50000"/>
                  </a:schemeClr>
                </a:solidFill>
              </a:rPr>
              <a:t>COPYRIGHT©PÖYRY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14919" y="931200"/>
            <a:ext cx="10665883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pace for short optional subtitle, 1 sentence, 1-2 lines, no dot at the end 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>
          <a:xfrm>
            <a:off x="812800" y="475200"/>
            <a:ext cx="108432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696" y="1600200"/>
            <a:ext cx="3360000" cy="295200"/>
          </a:xfrm>
          <a:solidFill>
            <a:srgbClr val="FF850E"/>
          </a:solidFill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456216" y="1600200"/>
            <a:ext cx="3360000" cy="295200"/>
          </a:xfrm>
          <a:solidFill>
            <a:srgbClr val="52ADD5"/>
          </a:solidFill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8199967" y="1600200"/>
            <a:ext cx="3360000" cy="295200"/>
          </a:xfrm>
          <a:solidFill>
            <a:srgbClr val="FF850E"/>
          </a:solidFill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6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19" name="Content Placeholder 10"/>
          <p:cNvSpPr>
            <a:spLocks noGrp="1"/>
          </p:cNvSpPr>
          <p:nvPr>
            <p:ph sz="quarter" idx="17" hasCustomPrompt="1"/>
          </p:nvPr>
        </p:nvSpPr>
        <p:spPr>
          <a:xfrm>
            <a:off x="711200" y="2032248"/>
            <a:ext cx="3361267" cy="4104456"/>
          </a:xfrm>
        </p:spPr>
        <p:txBody>
          <a:bodyPr>
            <a:normAutofit/>
          </a:bodyPr>
          <a:lstStyle>
            <a:lvl1pPr algn="l">
              <a:buClr>
                <a:srgbClr val="FF850E"/>
              </a:buClr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0" name="Content Placeholder 10"/>
          <p:cNvSpPr>
            <a:spLocks noGrp="1"/>
          </p:cNvSpPr>
          <p:nvPr>
            <p:ph sz="quarter" idx="18" hasCustomPrompt="1"/>
          </p:nvPr>
        </p:nvSpPr>
        <p:spPr>
          <a:xfrm>
            <a:off x="4455583" y="2031826"/>
            <a:ext cx="3361267" cy="4104878"/>
          </a:xfrm>
        </p:spPr>
        <p:txBody>
          <a:bodyPr>
            <a:normAutofit/>
          </a:bodyPr>
          <a:lstStyle>
            <a:lvl1pPr algn="l">
              <a:buClr>
                <a:srgbClr val="FF850E"/>
              </a:buClr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1" name="Content Placeholder 10"/>
          <p:cNvSpPr>
            <a:spLocks noGrp="1"/>
          </p:cNvSpPr>
          <p:nvPr>
            <p:ph sz="quarter" idx="19" hasCustomPrompt="1"/>
          </p:nvPr>
        </p:nvSpPr>
        <p:spPr>
          <a:xfrm>
            <a:off x="8199967" y="2032248"/>
            <a:ext cx="3361267" cy="4104456"/>
          </a:xfrm>
        </p:spPr>
        <p:txBody>
          <a:bodyPr>
            <a:normAutofit/>
          </a:bodyPr>
          <a:lstStyle>
            <a:lvl1pPr algn="l">
              <a:buClr>
                <a:srgbClr val="FF850E"/>
              </a:buClr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814917" y="1295400"/>
            <a:ext cx="10769600" cy="0"/>
          </a:xfrm>
          <a:prstGeom prst="line">
            <a:avLst/>
          </a:prstGeom>
          <a:ln w="190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00215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er_Slide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61" y="228601"/>
            <a:ext cx="11711124" cy="6114523"/>
          </a:xfrm>
          <a:prstGeom prst="rect">
            <a:avLst/>
          </a:prstGeom>
        </p:spPr>
      </p:pic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618362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6B0D7991-2876-4005-B7A8-DEB94A40AB1C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531962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531962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23" descr="Pöyry_logo_30_m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867" y="6400800"/>
            <a:ext cx="1727200" cy="381000"/>
          </a:xfrm>
          <a:prstGeom prst="rect">
            <a:avLst/>
          </a:prstGeom>
          <a:noFill/>
        </p:spPr>
      </p:pic>
      <p:sp>
        <p:nvSpPr>
          <p:cNvPr id="11" name="Rectangle 25"/>
          <p:cNvSpPr>
            <a:spLocks noChangeArrowheads="1"/>
          </p:cNvSpPr>
          <p:nvPr userDrawn="1"/>
        </p:nvSpPr>
        <p:spPr bwMode="auto">
          <a:xfrm>
            <a:off x="5039785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>
                <a:solidFill>
                  <a:schemeClr val="bg1">
                    <a:lumMod val="50000"/>
                  </a:schemeClr>
                </a:solidFill>
              </a:rPr>
              <a:t>COPYRIGHT©PÖYRY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14919" y="931200"/>
            <a:ext cx="10665883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pace for short optional subtitle, 1 sentence, 1-2 lines, no dot at the end 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812800" y="475200"/>
            <a:ext cx="108432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200" y="1600200"/>
            <a:ext cx="2400000" cy="295200"/>
          </a:xfrm>
          <a:solidFill>
            <a:srgbClr val="FF850E"/>
          </a:solidFill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174625" indent="0">
              <a:buFontTx/>
              <a:buNone/>
              <a:defRPr/>
            </a:lvl2pPr>
            <a:lvl3pPr marL="368300" indent="0">
              <a:buFontTx/>
              <a:buNone/>
              <a:defRPr/>
            </a:lvl3pPr>
            <a:lvl4pPr marL="630237" indent="0">
              <a:buFontTx/>
              <a:buNone/>
              <a:defRPr/>
            </a:lvl4pPr>
            <a:lvl5pPr marL="800100" indent="0">
              <a:buFontTx/>
              <a:buNone/>
              <a:defRPr/>
            </a:lvl5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527679" y="1600200"/>
            <a:ext cx="2400000" cy="295200"/>
          </a:xfrm>
          <a:solidFill>
            <a:srgbClr val="52ADD5"/>
          </a:solidFill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174625" indent="0">
              <a:buFontTx/>
              <a:buNone/>
              <a:defRPr/>
            </a:lvl2pPr>
            <a:lvl3pPr marL="368300" indent="0">
              <a:buFontTx/>
              <a:buNone/>
              <a:defRPr/>
            </a:lvl3pPr>
            <a:lvl4pPr marL="630237" indent="0">
              <a:buFontTx/>
              <a:buNone/>
              <a:defRPr/>
            </a:lvl4pPr>
            <a:lvl5pPr marL="800100" indent="0">
              <a:buFontTx/>
              <a:buNone/>
              <a:defRPr/>
            </a:lvl5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6344157" y="1600200"/>
            <a:ext cx="2400000" cy="295200"/>
          </a:xfrm>
          <a:solidFill>
            <a:srgbClr val="FF850E"/>
          </a:solidFill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174625" indent="0">
              <a:buFontTx/>
              <a:buNone/>
              <a:defRPr/>
            </a:lvl2pPr>
            <a:lvl3pPr marL="368300" indent="0">
              <a:buFontTx/>
              <a:buNone/>
              <a:defRPr/>
            </a:lvl3pPr>
            <a:lvl4pPr marL="630237" indent="0">
              <a:buFontTx/>
              <a:buNone/>
              <a:defRPr/>
            </a:lvl4pPr>
            <a:lvl5pPr marL="800100" indent="0">
              <a:buFontTx/>
              <a:buNone/>
              <a:defRPr/>
            </a:lvl5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9160635" y="1600200"/>
            <a:ext cx="2400000" cy="295200"/>
          </a:xfrm>
          <a:solidFill>
            <a:srgbClr val="52ADD5"/>
          </a:solidFill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600" b="1" i="0">
                <a:solidFill>
                  <a:schemeClr val="bg1"/>
                </a:solidFill>
              </a:defRPr>
            </a:lvl1pPr>
            <a:lvl2pPr marL="174625" indent="0">
              <a:buFontTx/>
              <a:buNone/>
              <a:defRPr/>
            </a:lvl2pPr>
            <a:lvl3pPr marL="368300" indent="0">
              <a:buFontTx/>
              <a:buNone/>
              <a:defRPr/>
            </a:lvl3pPr>
            <a:lvl4pPr marL="630237" indent="0">
              <a:buFontTx/>
              <a:buNone/>
              <a:defRPr/>
            </a:lvl4pPr>
            <a:lvl5pPr marL="800100" indent="0">
              <a:buFontTx/>
              <a:buNone/>
              <a:defRPr/>
            </a:lvl5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6" name="Content Placeholder 10"/>
          <p:cNvSpPr>
            <a:spLocks noGrp="1"/>
          </p:cNvSpPr>
          <p:nvPr>
            <p:ph sz="quarter" idx="18" hasCustomPrompt="1"/>
          </p:nvPr>
        </p:nvSpPr>
        <p:spPr>
          <a:xfrm>
            <a:off x="711201" y="2032671"/>
            <a:ext cx="2400300" cy="4104456"/>
          </a:xfrm>
        </p:spPr>
        <p:txBody>
          <a:bodyPr>
            <a:normAutofit/>
          </a:bodyPr>
          <a:lstStyle>
            <a:lvl1pPr algn="l">
              <a:buClr>
                <a:srgbClr val="FF850E"/>
              </a:buClr>
              <a:defRPr sz="1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7" name="Content Placeholder 10"/>
          <p:cNvSpPr>
            <a:spLocks noGrp="1"/>
          </p:cNvSpPr>
          <p:nvPr>
            <p:ph sz="quarter" idx="19" hasCustomPrompt="1"/>
          </p:nvPr>
        </p:nvSpPr>
        <p:spPr>
          <a:xfrm>
            <a:off x="3527679" y="2032249"/>
            <a:ext cx="2400300" cy="4104456"/>
          </a:xfrm>
        </p:spPr>
        <p:txBody>
          <a:bodyPr>
            <a:normAutofit/>
          </a:bodyPr>
          <a:lstStyle>
            <a:lvl1pPr algn="l">
              <a:buClr>
                <a:srgbClr val="FF850E"/>
              </a:buClr>
              <a:defRPr sz="1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8" name="Content Placeholder 10"/>
          <p:cNvSpPr>
            <a:spLocks noGrp="1"/>
          </p:cNvSpPr>
          <p:nvPr>
            <p:ph sz="quarter" idx="20" hasCustomPrompt="1"/>
          </p:nvPr>
        </p:nvSpPr>
        <p:spPr>
          <a:xfrm>
            <a:off x="6344158" y="2032249"/>
            <a:ext cx="2400300" cy="4104456"/>
          </a:xfrm>
        </p:spPr>
        <p:txBody>
          <a:bodyPr>
            <a:normAutofit/>
          </a:bodyPr>
          <a:lstStyle>
            <a:lvl1pPr algn="l">
              <a:buClr>
                <a:srgbClr val="FF850E"/>
              </a:buClr>
              <a:defRPr sz="1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9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9160635" y="2032249"/>
            <a:ext cx="2400300" cy="4104456"/>
          </a:xfrm>
        </p:spPr>
        <p:txBody>
          <a:bodyPr>
            <a:normAutofit/>
          </a:bodyPr>
          <a:lstStyle>
            <a:lvl1pPr algn="l">
              <a:buClr>
                <a:srgbClr val="FF850E"/>
              </a:buClr>
              <a:defRPr sz="1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812800" y="1295400"/>
            <a:ext cx="10769600" cy="0"/>
          </a:xfrm>
          <a:prstGeom prst="line">
            <a:avLst/>
          </a:prstGeom>
          <a:ln w="190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86065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er_Slide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363" y="228601"/>
            <a:ext cx="11711124" cy="6114523"/>
          </a:xfrm>
          <a:prstGeom prst="rect">
            <a:avLst/>
          </a:prstGeom>
        </p:spPr>
      </p:pic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618362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5568B018-3922-4346-ADB9-C56782FAAEC3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531962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531962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23" descr="Pöyry_logo_30_m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867" y="6400800"/>
            <a:ext cx="1727200" cy="381000"/>
          </a:xfrm>
          <a:prstGeom prst="rect">
            <a:avLst/>
          </a:prstGeom>
          <a:noFill/>
        </p:spPr>
      </p:pic>
      <p:sp>
        <p:nvSpPr>
          <p:cNvPr id="11" name="Rectangle 25"/>
          <p:cNvSpPr>
            <a:spLocks noChangeArrowheads="1"/>
          </p:cNvSpPr>
          <p:nvPr userDrawn="1"/>
        </p:nvSpPr>
        <p:spPr bwMode="auto">
          <a:xfrm>
            <a:off x="5039785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>
                <a:solidFill>
                  <a:schemeClr val="bg1">
                    <a:lumMod val="50000"/>
                  </a:schemeClr>
                </a:solidFill>
              </a:rPr>
              <a:t>COPYRIGHT©PÖYRY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14919" y="931200"/>
            <a:ext cx="10665883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pace for short optional subtitle, 1 sentence, 1-2 lines, no dot at the end </a:t>
            </a:r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556000" y="5069480"/>
            <a:ext cx="7968885" cy="702508"/>
          </a:xfrm>
        </p:spPr>
        <p:txBody>
          <a:bodyPr/>
          <a:lstStyle>
            <a:lvl1pPr algn="l">
              <a:buClr>
                <a:srgbClr val="FF850E"/>
              </a:buCl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>
          <a:xfrm>
            <a:off x="812800" y="475200"/>
            <a:ext cx="108432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546679" y="1492067"/>
            <a:ext cx="7968885" cy="702508"/>
          </a:xfrm>
        </p:spPr>
        <p:txBody>
          <a:bodyPr/>
          <a:lstStyle>
            <a:lvl1pPr algn="l">
              <a:buClr>
                <a:srgbClr val="FF850E"/>
              </a:buCl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3556000" y="4182371"/>
            <a:ext cx="7968885" cy="702508"/>
          </a:xfrm>
        </p:spPr>
        <p:txBody>
          <a:bodyPr/>
          <a:lstStyle>
            <a:lvl1pPr algn="l">
              <a:buClr>
                <a:srgbClr val="FF850E"/>
              </a:buCl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3546679" y="3289192"/>
            <a:ext cx="7968885" cy="702508"/>
          </a:xfrm>
        </p:spPr>
        <p:txBody>
          <a:bodyPr/>
          <a:lstStyle>
            <a:lvl1pPr algn="l">
              <a:buClr>
                <a:srgbClr val="FF850E"/>
              </a:buCl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20" hasCustomPrompt="1"/>
          </p:nvPr>
        </p:nvSpPr>
        <p:spPr>
          <a:xfrm>
            <a:off x="711200" y="1492265"/>
            <a:ext cx="2497667" cy="703700"/>
          </a:xfrm>
          <a:solidFill>
            <a:srgbClr val="FF850E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711200" y="3313723"/>
            <a:ext cx="2497667" cy="703700"/>
          </a:xfrm>
          <a:solidFill>
            <a:srgbClr val="52ADD5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32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711200" y="5068076"/>
            <a:ext cx="2497667" cy="703700"/>
          </a:xfrm>
          <a:solidFill>
            <a:srgbClr val="52ADD5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33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711200" y="4158227"/>
            <a:ext cx="2497667" cy="703700"/>
          </a:xfrm>
          <a:solidFill>
            <a:srgbClr val="FF850E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812800" y="1295400"/>
            <a:ext cx="10769600" cy="0"/>
          </a:xfrm>
          <a:prstGeom prst="line">
            <a:avLst/>
          </a:prstGeom>
          <a:ln w="190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3511915" y="2394004"/>
            <a:ext cx="7968885" cy="702508"/>
          </a:xfrm>
        </p:spPr>
        <p:txBody>
          <a:bodyPr/>
          <a:lstStyle>
            <a:lvl1pPr algn="l">
              <a:buClr>
                <a:srgbClr val="FF850E"/>
              </a:buCl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676436" y="2394202"/>
            <a:ext cx="2497667" cy="703700"/>
          </a:xfrm>
          <a:solidFill>
            <a:srgbClr val="FF850E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</p:spTree>
    <p:extLst>
      <p:ext uri="{BB962C8B-B14F-4D97-AF65-F5344CB8AC3E}">
        <p14:creationId xmlns:p14="http://schemas.microsoft.com/office/powerpoint/2010/main" val="37625303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ner_Slide_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61" y="228601"/>
            <a:ext cx="11711124" cy="6114523"/>
          </a:xfrm>
          <a:prstGeom prst="rect">
            <a:avLst/>
          </a:prstGeom>
        </p:spPr>
      </p:pic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618362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1BDFBBC0-FAC2-4AC8-BFA8-237E916A7D7D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531962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531962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23" descr="Pöyry_logo_30_m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867" y="6400800"/>
            <a:ext cx="1727200" cy="381000"/>
          </a:xfrm>
          <a:prstGeom prst="rect">
            <a:avLst/>
          </a:prstGeom>
          <a:noFill/>
        </p:spPr>
      </p:pic>
      <p:sp>
        <p:nvSpPr>
          <p:cNvPr id="11" name="Rectangle 25"/>
          <p:cNvSpPr>
            <a:spLocks noChangeArrowheads="1"/>
          </p:cNvSpPr>
          <p:nvPr userDrawn="1"/>
        </p:nvSpPr>
        <p:spPr bwMode="auto">
          <a:xfrm>
            <a:off x="5039785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>
                <a:solidFill>
                  <a:schemeClr val="bg1">
                    <a:lumMod val="50000"/>
                  </a:schemeClr>
                </a:solidFill>
              </a:rPr>
              <a:t>COPYRIGHT©PÖYRY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14919" y="931200"/>
            <a:ext cx="10665883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pace for short optional subtitle, 1 sentence, 1-2 lines, no dot at the end 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812800" y="475200"/>
            <a:ext cx="108432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814917" y="1295400"/>
            <a:ext cx="10769600" cy="0"/>
          </a:xfrm>
          <a:prstGeom prst="line">
            <a:avLst/>
          </a:prstGeom>
          <a:ln w="190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454400" y="1524000"/>
            <a:ext cx="7968885" cy="763200"/>
          </a:xfrm>
        </p:spPr>
        <p:txBody>
          <a:bodyPr/>
          <a:lstStyle>
            <a:lvl1pPr algn="l">
              <a:buClr>
                <a:srgbClr val="FF850E"/>
              </a:buCl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3454400" y="2437200"/>
            <a:ext cx="7968885" cy="763200"/>
          </a:xfrm>
        </p:spPr>
        <p:txBody>
          <a:bodyPr/>
          <a:lstStyle>
            <a:lvl1pPr algn="l">
              <a:buClr>
                <a:srgbClr val="FF850E"/>
              </a:buCl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30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3454400" y="3351600"/>
            <a:ext cx="7968885" cy="763200"/>
          </a:xfrm>
        </p:spPr>
        <p:txBody>
          <a:bodyPr/>
          <a:lstStyle>
            <a:lvl1pPr algn="l">
              <a:buClr>
                <a:srgbClr val="FF850E"/>
              </a:buCl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3454400" y="4267200"/>
            <a:ext cx="7968885" cy="763200"/>
          </a:xfrm>
        </p:spPr>
        <p:txBody>
          <a:bodyPr/>
          <a:lstStyle>
            <a:lvl1pPr algn="l">
              <a:buClr>
                <a:srgbClr val="FF850E"/>
              </a:buCl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3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3469804" y="5181600"/>
            <a:ext cx="7968885" cy="763200"/>
          </a:xfrm>
        </p:spPr>
        <p:txBody>
          <a:bodyPr/>
          <a:lstStyle>
            <a:lvl1pPr algn="l">
              <a:buClr>
                <a:srgbClr val="FF850E"/>
              </a:buCl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829467" y="1524000"/>
            <a:ext cx="2371200" cy="763200"/>
          </a:xfrm>
        </p:spPr>
        <p:txBody>
          <a:bodyPr/>
          <a:lstStyle/>
          <a:p>
            <a:endParaRPr lang="en-US"/>
          </a:p>
        </p:txBody>
      </p:sp>
      <p:sp>
        <p:nvSpPr>
          <p:cNvPr id="36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829467" y="2438400"/>
            <a:ext cx="2371200" cy="763200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829467" y="3352800"/>
            <a:ext cx="2371200" cy="763200"/>
          </a:xfrm>
        </p:spPr>
        <p:txBody>
          <a:bodyPr/>
          <a:lstStyle/>
          <a:p>
            <a:endParaRPr lang="en-US"/>
          </a:p>
        </p:txBody>
      </p:sp>
      <p:sp>
        <p:nvSpPr>
          <p:cNvPr id="38" name="Picture Placeholder 2"/>
          <p:cNvSpPr>
            <a:spLocks noGrp="1"/>
          </p:cNvSpPr>
          <p:nvPr>
            <p:ph type="pic" sz="quarter" idx="30"/>
          </p:nvPr>
        </p:nvSpPr>
        <p:spPr>
          <a:xfrm>
            <a:off x="829467" y="4267200"/>
            <a:ext cx="2371200" cy="763200"/>
          </a:xfrm>
        </p:spPr>
        <p:txBody>
          <a:bodyPr/>
          <a:lstStyle/>
          <a:p>
            <a:endParaRPr lang="en-US"/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31"/>
          </p:nvPr>
        </p:nvSpPr>
        <p:spPr>
          <a:xfrm>
            <a:off x="829467" y="5181600"/>
            <a:ext cx="2371200" cy="7632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14517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Inner_Slide_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61" y="228601"/>
            <a:ext cx="11711124" cy="6114523"/>
          </a:xfrm>
          <a:prstGeom prst="rect">
            <a:avLst/>
          </a:prstGeom>
        </p:spPr>
      </p:pic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618362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1BDFBBC0-FAC2-4AC8-BFA8-237E916A7D7D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531962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531962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23" descr="Pöyry_logo_30_m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867" y="6400800"/>
            <a:ext cx="1727200" cy="381000"/>
          </a:xfrm>
          <a:prstGeom prst="rect">
            <a:avLst/>
          </a:prstGeom>
          <a:noFill/>
        </p:spPr>
      </p:pic>
      <p:sp>
        <p:nvSpPr>
          <p:cNvPr id="11" name="Rectangle 25"/>
          <p:cNvSpPr>
            <a:spLocks noChangeArrowheads="1"/>
          </p:cNvSpPr>
          <p:nvPr userDrawn="1"/>
        </p:nvSpPr>
        <p:spPr bwMode="auto">
          <a:xfrm>
            <a:off x="5039785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>
                <a:solidFill>
                  <a:schemeClr val="bg1">
                    <a:lumMod val="50000"/>
                  </a:schemeClr>
                </a:solidFill>
              </a:rPr>
              <a:t>COPYRIGHT©PÖYRY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812800" y="475200"/>
            <a:ext cx="108432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454400" y="1143000"/>
            <a:ext cx="7968885" cy="763200"/>
          </a:xfrm>
        </p:spPr>
        <p:txBody>
          <a:bodyPr/>
          <a:lstStyle>
            <a:lvl1pPr algn="l">
              <a:buClr>
                <a:srgbClr val="FF850E"/>
              </a:buCl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3454400" y="2133600"/>
            <a:ext cx="7968885" cy="763200"/>
          </a:xfrm>
        </p:spPr>
        <p:txBody>
          <a:bodyPr/>
          <a:lstStyle>
            <a:lvl1pPr algn="l">
              <a:buClr>
                <a:srgbClr val="FF850E"/>
              </a:buCl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30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3454400" y="3124200"/>
            <a:ext cx="7968885" cy="763200"/>
          </a:xfrm>
        </p:spPr>
        <p:txBody>
          <a:bodyPr/>
          <a:lstStyle>
            <a:lvl1pPr algn="l">
              <a:buClr>
                <a:srgbClr val="FF850E"/>
              </a:buCl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3454400" y="4114800"/>
            <a:ext cx="7968885" cy="763200"/>
          </a:xfrm>
        </p:spPr>
        <p:txBody>
          <a:bodyPr/>
          <a:lstStyle>
            <a:lvl1pPr algn="l">
              <a:buClr>
                <a:srgbClr val="FF850E"/>
              </a:buCl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3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3469804" y="5105400"/>
            <a:ext cx="7968885" cy="763200"/>
          </a:xfrm>
        </p:spPr>
        <p:txBody>
          <a:bodyPr/>
          <a:lstStyle>
            <a:lvl1pPr algn="l">
              <a:buClr>
                <a:srgbClr val="FF850E"/>
              </a:buCl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829467" y="1143000"/>
            <a:ext cx="2371200" cy="763200"/>
          </a:xfrm>
        </p:spPr>
        <p:txBody>
          <a:bodyPr/>
          <a:lstStyle/>
          <a:p>
            <a:endParaRPr lang="en-US"/>
          </a:p>
        </p:txBody>
      </p:sp>
      <p:sp>
        <p:nvSpPr>
          <p:cNvPr id="36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829467" y="2134800"/>
            <a:ext cx="2371200" cy="763200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829467" y="3125400"/>
            <a:ext cx="2371200" cy="763200"/>
          </a:xfrm>
        </p:spPr>
        <p:txBody>
          <a:bodyPr/>
          <a:lstStyle/>
          <a:p>
            <a:endParaRPr lang="en-US"/>
          </a:p>
        </p:txBody>
      </p:sp>
      <p:sp>
        <p:nvSpPr>
          <p:cNvPr id="38" name="Picture Placeholder 2"/>
          <p:cNvSpPr>
            <a:spLocks noGrp="1"/>
          </p:cNvSpPr>
          <p:nvPr>
            <p:ph type="pic" sz="quarter" idx="30"/>
          </p:nvPr>
        </p:nvSpPr>
        <p:spPr>
          <a:xfrm>
            <a:off x="829467" y="4114800"/>
            <a:ext cx="2371200" cy="763200"/>
          </a:xfrm>
        </p:spPr>
        <p:txBody>
          <a:bodyPr/>
          <a:lstStyle/>
          <a:p>
            <a:endParaRPr lang="en-US"/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31"/>
          </p:nvPr>
        </p:nvSpPr>
        <p:spPr>
          <a:xfrm>
            <a:off x="829467" y="5105400"/>
            <a:ext cx="2371200" cy="763200"/>
          </a:xfrm>
        </p:spPr>
        <p:txBody>
          <a:bodyPr/>
          <a:lstStyle/>
          <a:p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815746" y="836712"/>
            <a:ext cx="10849205" cy="0"/>
          </a:xfrm>
          <a:prstGeom prst="line">
            <a:avLst/>
          </a:prstGeom>
          <a:ln w="190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03912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BFB7785-D53E-4018-8344-55F0F9F38E92}" type="datetime1">
              <a:rPr lang="ru-RU" smtClean="0"/>
              <a:t>27.09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4AD95A14-BE63-4F38-9969-6088F845097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43894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er_Slide_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61" y="228601"/>
            <a:ext cx="11711124" cy="6114523"/>
          </a:xfrm>
          <a:prstGeom prst="rect">
            <a:avLst/>
          </a:prstGeom>
        </p:spPr>
      </p:pic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618362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1BDFBBC0-FAC2-4AC8-BFA8-237E916A7D7D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531962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531962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23" descr="Pöyry_logo_30_m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867" y="6400800"/>
            <a:ext cx="1727200" cy="381000"/>
          </a:xfrm>
          <a:prstGeom prst="rect">
            <a:avLst/>
          </a:prstGeom>
          <a:noFill/>
        </p:spPr>
      </p:pic>
      <p:sp>
        <p:nvSpPr>
          <p:cNvPr id="11" name="Rectangle 25"/>
          <p:cNvSpPr>
            <a:spLocks noChangeArrowheads="1"/>
          </p:cNvSpPr>
          <p:nvPr userDrawn="1"/>
        </p:nvSpPr>
        <p:spPr bwMode="auto">
          <a:xfrm>
            <a:off x="5039785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>
                <a:solidFill>
                  <a:schemeClr val="bg1">
                    <a:lumMod val="50000"/>
                  </a:schemeClr>
                </a:solidFill>
              </a:rPr>
              <a:t>COPYRIGHT©PÖYRY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14919" y="931200"/>
            <a:ext cx="10665883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pace for short optional subtitle, 1 sentence, 1-2 lines, no dot at the end 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812800" y="475200"/>
            <a:ext cx="108432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22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1191255" y="2063478"/>
            <a:ext cx="4512501" cy="1728192"/>
          </a:xfrm>
        </p:spPr>
        <p:txBody>
          <a:bodyPr/>
          <a:lstStyle>
            <a:lvl1pPr algn="l">
              <a:buClr>
                <a:srgbClr val="FF850E"/>
              </a:buClr>
              <a:defRPr sz="1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1191255" y="1676400"/>
            <a:ext cx="4512501" cy="295200"/>
          </a:xfrm>
          <a:solidFill>
            <a:srgbClr val="FF850E"/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4" name="Content Placeholder 8"/>
          <p:cNvSpPr>
            <a:spLocks noGrp="1"/>
          </p:cNvSpPr>
          <p:nvPr>
            <p:ph sz="quarter" idx="22" hasCustomPrompt="1"/>
          </p:nvPr>
        </p:nvSpPr>
        <p:spPr>
          <a:xfrm>
            <a:off x="1191255" y="4223718"/>
            <a:ext cx="4512501" cy="1728192"/>
          </a:xfrm>
        </p:spPr>
        <p:txBody>
          <a:bodyPr/>
          <a:lstStyle>
            <a:lvl1pPr algn="l">
              <a:buClr>
                <a:srgbClr val="FF850E"/>
              </a:buClr>
              <a:defRPr sz="1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3" hasCustomPrompt="1"/>
          </p:nvPr>
        </p:nvSpPr>
        <p:spPr>
          <a:xfrm rot="16200000">
            <a:off x="39127" y="2735553"/>
            <a:ext cx="1728192" cy="384043"/>
          </a:xfrm>
          <a:solidFill>
            <a:srgbClr val="52ADD5"/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4" hasCustomPrompt="1"/>
          </p:nvPr>
        </p:nvSpPr>
        <p:spPr>
          <a:xfrm rot="16200000">
            <a:off x="39127" y="4895793"/>
            <a:ext cx="1728192" cy="384043"/>
          </a:xfrm>
          <a:solidFill>
            <a:srgbClr val="52ADD5"/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text </a:t>
            </a:r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5"/>
          </p:nvPr>
        </p:nvSpPr>
        <p:spPr>
          <a:xfrm>
            <a:off x="5895777" y="2063479"/>
            <a:ext cx="5585024" cy="3887787"/>
          </a:xfrm>
        </p:spPr>
        <p:txBody>
          <a:bodyPr/>
          <a:lstStyle>
            <a:lvl1pPr algn="l">
              <a:buClr>
                <a:srgbClr val="FF850E"/>
              </a:buClr>
              <a:defRPr sz="1400">
                <a:solidFill>
                  <a:schemeClr val="bg1"/>
                </a:solidFill>
              </a:defRPr>
            </a:lvl1pPr>
            <a:lvl2pPr algn="l">
              <a:buClr>
                <a:srgbClr val="FF850E"/>
              </a:buClr>
              <a:defRPr sz="1400" b="0">
                <a:solidFill>
                  <a:schemeClr val="bg1"/>
                </a:solidFill>
              </a:defRPr>
            </a:lvl2pPr>
            <a:lvl3pPr algn="l">
              <a:buClr>
                <a:srgbClr val="FF850E"/>
              </a:buClr>
              <a:defRPr sz="1400" b="0">
                <a:solidFill>
                  <a:schemeClr val="bg1"/>
                </a:solidFill>
              </a:defRPr>
            </a:lvl3pPr>
            <a:lvl4pPr algn="l">
              <a:buClr>
                <a:srgbClr val="FF850E"/>
              </a:buClr>
              <a:defRPr sz="1400" b="0">
                <a:solidFill>
                  <a:schemeClr val="bg1"/>
                </a:solidFill>
              </a:defRPr>
            </a:lvl4pPr>
            <a:lvl5pPr algn="l">
              <a:buClr>
                <a:srgbClr val="FF850E"/>
              </a:buClr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814917" y="1295400"/>
            <a:ext cx="10769600" cy="0"/>
          </a:xfrm>
          <a:prstGeom prst="line">
            <a:avLst/>
          </a:prstGeom>
          <a:ln w="190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04454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60" y="228600"/>
            <a:ext cx="11711125" cy="6114524"/>
          </a:xfrm>
          <a:prstGeom prst="rect">
            <a:avLst/>
          </a:prstGeom>
        </p:spPr>
      </p:pic>
      <p:sp>
        <p:nvSpPr>
          <p:cNvPr id="5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238760" y="4800600"/>
            <a:ext cx="11711125" cy="533400"/>
          </a:xfrm>
        </p:spPr>
        <p:txBody>
          <a:bodyPr lIns="0" tIns="0" rIns="0" bIns="0" anchor="ctr">
            <a:noAutofit/>
          </a:bodyPr>
          <a:lstStyle>
            <a:lvl1pPr marL="0" indent="0" algn="ctr">
              <a:buFontTx/>
              <a:buNone/>
              <a:defRPr sz="2400" b="1" baseline="0">
                <a:solidFill>
                  <a:srgbClr val="FF850E"/>
                </a:solidFill>
              </a:defRPr>
            </a:lvl1pPr>
          </a:lstStyle>
          <a:p>
            <a:r>
              <a:rPr lang="en-GB" noProof="0"/>
              <a:t>CHAPTER PAGE, 24 POINTS, ALL CAPS, NO DOT AT THE END 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064671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_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62" y="228601"/>
            <a:ext cx="11711121" cy="6114521"/>
          </a:xfrm>
          <a:prstGeom prst="rect">
            <a:avLst/>
          </a:prstGeom>
        </p:spPr>
      </p:pic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618362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5D4C5B74-59C5-48D3-B085-BA92815C2951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531962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531962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23" descr="Pöyry_logo_30_m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867" y="6400800"/>
            <a:ext cx="1727200" cy="381000"/>
          </a:xfrm>
          <a:prstGeom prst="rect">
            <a:avLst/>
          </a:prstGeom>
          <a:noFill/>
        </p:spPr>
      </p:pic>
      <p:sp>
        <p:nvSpPr>
          <p:cNvPr id="11" name="Rectangle 25"/>
          <p:cNvSpPr>
            <a:spLocks noChangeArrowheads="1"/>
          </p:cNvSpPr>
          <p:nvPr userDrawn="1"/>
        </p:nvSpPr>
        <p:spPr bwMode="auto">
          <a:xfrm>
            <a:off x="5039785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>
                <a:solidFill>
                  <a:schemeClr val="bg1">
                    <a:lumMod val="50000"/>
                  </a:schemeClr>
                </a:solidFill>
              </a:rPr>
              <a:t>COPYRIGHT©PÖYRY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14919" y="931200"/>
            <a:ext cx="10665883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pace for short optional subtitle, 1 sentence, 1-2 lines, no dot at the end 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12800" y="475200"/>
            <a:ext cx="108432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812800" y="4876800"/>
            <a:ext cx="10769600" cy="1371601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600" b="0">
                <a:solidFill>
                  <a:schemeClr val="bg1"/>
                </a:solidFill>
              </a:defRPr>
            </a:lvl2pPr>
            <a:lvl3pPr>
              <a:defRPr sz="1600" b="0">
                <a:solidFill>
                  <a:schemeClr val="bg1"/>
                </a:solidFill>
              </a:defRPr>
            </a:lvl3pPr>
            <a:lvl4pPr>
              <a:defRPr sz="1600" b="0">
                <a:solidFill>
                  <a:schemeClr val="bg1"/>
                </a:solidFill>
              </a:defRPr>
            </a:lvl4pPr>
            <a:lvl5pPr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238762" y="1752600"/>
            <a:ext cx="11711121" cy="304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rgbClr val="00036D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812800" y="1295400"/>
            <a:ext cx="10769600" cy="0"/>
          </a:xfrm>
          <a:prstGeom prst="line">
            <a:avLst/>
          </a:prstGeom>
          <a:ln w="190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36190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_Slide_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61" y="228600"/>
            <a:ext cx="11711124" cy="6114522"/>
          </a:xfrm>
          <a:prstGeom prst="rect">
            <a:avLst/>
          </a:prstGeom>
        </p:spPr>
      </p:pic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618362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B0524EAD-0230-40DF-8CD1-CD8301CC086E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531962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531962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23" descr="Pöyry_logo_30_m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867" y="6400800"/>
            <a:ext cx="1727200" cy="381000"/>
          </a:xfrm>
          <a:prstGeom prst="rect">
            <a:avLst/>
          </a:prstGeom>
          <a:noFill/>
        </p:spPr>
      </p:pic>
      <p:sp>
        <p:nvSpPr>
          <p:cNvPr id="11" name="Rectangle 25"/>
          <p:cNvSpPr>
            <a:spLocks noChangeArrowheads="1"/>
          </p:cNvSpPr>
          <p:nvPr userDrawn="1"/>
        </p:nvSpPr>
        <p:spPr bwMode="auto">
          <a:xfrm>
            <a:off x="5039785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>
                <a:solidFill>
                  <a:schemeClr val="bg1">
                    <a:lumMod val="50000"/>
                  </a:schemeClr>
                </a:solidFill>
              </a:rPr>
              <a:t>COPYRIGHT©PÖYRY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14920" y="931200"/>
            <a:ext cx="5890681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rgbClr val="FF850E"/>
                </a:solidFill>
              </a:defRPr>
            </a:lvl1pPr>
          </a:lstStyle>
          <a:p>
            <a:r>
              <a:rPr lang="en-GB" noProof="0" dirty="0"/>
              <a:t>Space for short optional subtitle, 1 sentence, 1-2 lines, no dot at the end 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812800" y="475200"/>
            <a:ext cx="82296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b="1">
                <a:solidFill>
                  <a:srgbClr val="FF850E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20" name="Picture Placeholder 18"/>
          <p:cNvSpPr>
            <a:spLocks noGrp="1"/>
          </p:cNvSpPr>
          <p:nvPr>
            <p:ph type="pic" sz="quarter" idx="16"/>
          </p:nvPr>
        </p:nvSpPr>
        <p:spPr>
          <a:xfrm>
            <a:off x="6982885" y="1752600"/>
            <a:ext cx="4396316" cy="4267200"/>
          </a:xfrm>
        </p:spPr>
        <p:txBody>
          <a:bodyPr anchor="ctr"/>
          <a:lstStyle>
            <a:lvl1pPr marL="0" indent="0" algn="ctr">
              <a:buNone/>
              <a:defRPr b="0">
                <a:solidFill>
                  <a:srgbClr val="001E6D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Line 17"/>
          <p:cNvSpPr>
            <a:spLocks noChangeShapeType="1"/>
          </p:cNvSpPr>
          <p:nvPr userDrawn="1"/>
        </p:nvSpPr>
        <p:spPr bwMode="auto">
          <a:xfrm>
            <a:off x="239184" y="6364586"/>
            <a:ext cx="11707283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7"/>
          </p:nvPr>
        </p:nvSpPr>
        <p:spPr>
          <a:xfrm>
            <a:off x="812800" y="1752600"/>
            <a:ext cx="5384800" cy="4267200"/>
          </a:xfrm>
        </p:spPr>
        <p:txBody>
          <a:bodyPr/>
          <a:lstStyle>
            <a:lvl1pPr>
              <a:defRPr b="0">
                <a:solidFill>
                  <a:srgbClr val="001E6D"/>
                </a:solidFill>
              </a:defRPr>
            </a:lvl1pPr>
            <a:lvl2pPr>
              <a:defRPr b="0">
                <a:solidFill>
                  <a:srgbClr val="001E6D"/>
                </a:solidFill>
              </a:defRPr>
            </a:lvl2pPr>
            <a:lvl3pPr>
              <a:defRPr b="0">
                <a:solidFill>
                  <a:srgbClr val="001E6D"/>
                </a:solidFill>
              </a:defRPr>
            </a:lvl3pPr>
            <a:lvl4pPr>
              <a:defRPr b="0">
                <a:solidFill>
                  <a:srgbClr val="001E6D"/>
                </a:solidFill>
              </a:defRPr>
            </a:lvl4pPr>
            <a:lvl5pPr>
              <a:defRPr b="0">
                <a:solidFill>
                  <a:srgbClr val="001E6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812800" y="1524000"/>
            <a:ext cx="8332877" cy="0"/>
          </a:xfrm>
          <a:prstGeom prst="line">
            <a:avLst/>
          </a:prstGeom>
          <a:ln w="19050">
            <a:solidFill>
              <a:srgbClr val="FF850E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70115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_Slide_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61" y="228600"/>
            <a:ext cx="11711124" cy="6114522"/>
          </a:xfrm>
          <a:prstGeom prst="rect">
            <a:avLst/>
          </a:prstGeom>
        </p:spPr>
      </p:pic>
      <p:sp>
        <p:nvSpPr>
          <p:cNvPr id="15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14920" y="931200"/>
            <a:ext cx="5890681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rgbClr val="FF850E"/>
                </a:solidFill>
              </a:defRPr>
            </a:lvl1pPr>
          </a:lstStyle>
          <a:p>
            <a:r>
              <a:rPr lang="en-GB" noProof="0" dirty="0"/>
              <a:t>Space for short optional subtitle, 1 sentence, 1-2 lines, no dot at the end 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812800" y="475200"/>
            <a:ext cx="82296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FF850E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618362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36040F62-AB9E-4493-936E-B0E639D6308C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531962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531962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0" name="Picture 23" descr="Pöyry_logo_30_m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867" y="6400800"/>
            <a:ext cx="1727200" cy="381000"/>
          </a:xfrm>
          <a:prstGeom prst="rect">
            <a:avLst/>
          </a:prstGeom>
          <a:noFill/>
        </p:spPr>
      </p:pic>
      <p:sp>
        <p:nvSpPr>
          <p:cNvPr id="21" name="Rectangle 25"/>
          <p:cNvSpPr>
            <a:spLocks noChangeArrowheads="1"/>
          </p:cNvSpPr>
          <p:nvPr userDrawn="1"/>
        </p:nvSpPr>
        <p:spPr bwMode="auto">
          <a:xfrm>
            <a:off x="5039785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>
                <a:solidFill>
                  <a:schemeClr val="bg1">
                    <a:lumMod val="50000"/>
                  </a:schemeClr>
                </a:solidFill>
              </a:rPr>
              <a:t>COPYRIGHT©PÖYRY</a:t>
            </a:r>
          </a:p>
        </p:txBody>
      </p:sp>
      <p:sp>
        <p:nvSpPr>
          <p:cNvPr id="23" name="Line 17"/>
          <p:cNvSpPr>
            <a:spLocks noChangeShapeType="1"/>
          </p:cNvSpPr>
          <p:nvPr userDrawn="1"/>
        </p:nvSpPr>
        <p:spPr bwMode="auto">
          <a:xfrm>
            <a:off x="239184" y="6364586"/>
            <a:ext cx="11707283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7"/>
          </p:nvPr>
        </p:nvSpPr>
        <p:spPr>
          <a:xfrm>
            <a:off x="812800" y="1752600"/>
            <a:ext cx="5384800" cy="4267200"/>
          </a:xfrm>
        </p:spPr>
        <p:txBody>
          <a:bodyPr/>
          <a:lstStyle>
            <a:lvl1pPr>
              <a:defRPr>
                <a:solidFill>
                  <a:srgbClr val="00036D"/>
                </a:solidFill>
              </a:defRPr>
            </a:lvl1pPr>
            <a:lvl2pPr>
              <a:defRPr b="0">
                <a:solidFill>
                  <a:srgbClr val="00036D"/>
                </a:solidFill>
              </a:defRPr>
            </a:lvl2pPr>
            <a:lvl3pPr>
              <a:defRPr b="0">
                <a:solidFill>
                  <a:srgbClr val="00036D"/>
                </a:solidFill>
              </a:defRPr>
            </a:lvl3pPr>
            <a:lvl4pPr>
              <a:defRPr b="0">
                <a:solidFill>
                  <a:srgbClr val="00036D"/>
                </a:solidFill>
              </a:defRPr>
            </a:lvl4pPr>
            <a:lvl5pPr>
              <a:defRPr b="0">
                <a:solidFill>
                  <a:srgbClr val="00036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812800" y="1524000"/>
            <a:ext cx="8332877" cy="0"/>
          </a:xfrm>
          <a:prstGeom prst="line">
            <a:avLst/>
          </a:prstGeom>
          <a:ln w="19050">
            <a:solidFill>
              <a:srgbClr val="FF850E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Picture Placeholder 10"/>
          <p:cNvSpPr>
            <a:spLocks noGrp="1"/>
          </p:cNvSpPr>
          <p:nvPr>
            <p:ph type="pic" sz="quarter" idx="18"/>
          </p:nvPr>
        </p:nvSpPr>
        <p:spPr>
          <a:xfrm>
            <a:off x="6705600" y="3962401"/>
            <a:ext cx="4572000" cy="2057136"/>
          </a:xfrm>
        </p:spPr>
        <p:txBody>
          <a:bodyPr anchor="ctr"/>
          <a:lstStyle>
            <a:lvl1pPr marL="0" indent="0" algn="ctr">
              <a:buClr>
                <a:srgbClr val="FF850E"/>
              </a:buClr>
              <a:buNone/>
              <a:defRPr>
                <a:solidFill>
                  <a:srgbClr val="00036D"/>
                </a:solidFill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6705600" y="1771652"/>
            <a:ext cx="4572000" cy="2057136"/>
          </a:xfrm>
        </p:spPr>
        <p:txBody>
          <a:bodyPr anchor="ctr"/>
          <a:lstStyle>
            <a:lvl1pPr marL="0" indent="0" algn="ctr">
              <a:buClr>
                <a:srgbClr val="FF850E"/>
              </a:buClr>
              <a:buNone/>
              <a:defRPr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2988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_Slide_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61" y="228600"/>
            <a:ext cx="11711124" cy="6114522"/>
          </a:xfrm>
          <a:prstGeom prst="rect">
            <a:avLst/>
          </a:prstGeom>
        </p:spPr>
      </p:pic>
      <p:sp>
        <p:nvSpPr>
          <p:cNvPr id="15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14920" y="931200"/>
            <a:ext cx="5890681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rgbClr val="FF850E"/>
                </a:solidFill>
              </a:defRPr>
            </a:lvl1pPr>
          </a:lstStyle>
          <a:p>
            <a:r>
              <a:rPr lang="en-GB" noProof="0" dirty="0"/>
              <a:t>Space for short optional subtitle, 1 sentence, 1-2 lines, no dot at the end 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812800" y="475200"/>
            <a:ext cx="82296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FF850E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618362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FD204A62-AC3B-46BD-9F3D-292E1F356022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531962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531962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3" name="Picture 23" descr="Pöyry_logo_30_m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867" y="6400800"/>
            <a:ext cx="1727200" cy="381000"/>
          </a:xfrm>
          <a:prstGeom prst="rect">
            <a:avLst/>
          </a:prstGeom>
          <a:noFill/>
        </p:spPr>
      </p:pic>
      <p:sp>
        <p:nvSpPr>
          <p:cNvPr id="24" name="Rectangle 25"/>
          <p:cNvSpPr>
            <a:spLocks noChangeArrowheads="1"/>
          </p:cNvSpPr>
          <p:nvPr userDrawn="1"/>
        </p:nvSpPr>
        <p:spPr bwMode="auto">
          <a:xfrm>
            <a:off x="5039785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>
                <a:solidFill>
                  <a:schemeClr val="bg1">
                    <a:lumMod val="50000"/>
                  </a:schemeClr>
                </a:solidFill>
              </a:rPr>
              <a:t>COPYRIGHT©PÖYRY</a:t>
            </a:r>
          </a:p>
        </p:txBody>
      </p:sp>
      <p:sp>
        <p:nvSpPr>
          <p:cNvPr id="25" name="Line 17"/>
          <p:cNvSpPr>
            <a:spLocks noChangeShapeType="1"/>
          </p:cNvSpPr>
          <p:nvPr userDrawn="1"/>
        </p:nvSpPr>
        <p:spPr bwMode="auto">
          <a:xfrm>
            <a:off x="239184" y="6364586"/>
            <a:ext cx="11707283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7"/>
          </p:nvPr>
        </p:nvSpPr>
        <p:spPr>
          <a:xfrm>
            <a:off x="812800" y="1752600"/>
            <a:ext cx="5384800" cy="4267200"/>
          </a:xfrm>
        </p:spPr>
        <p:txBody>
          <a:bodyPr/>
          <a:lstStyle>
            <a:lvl1pPr>
              <a:defRPr>
                <a:solidFill>
                  <a:srgbClr val="00036D"/>
                </a:solidFill>
              </a:defRPr>
            </a:lvl1pPr>
            <a:lvl2pPr>
              <a:defRPr b="0">
                <a:solidFill>
                  <a:srgbClr val="00036D"/>
                </a:solidFill>
              </a:defRPr>
            </a:lvl2pPr>
            <a:lvl3pPr>
              <a:defRPr b="0">
                <a:solidFill>
                  <a:srgbClr val="00036D"/>
                </a:solidFill>
              </a:defRPr>
            </a:lvl3pPr>
            <a:lvl4pPr>
              <a:defRPr b="0">
                <a:solidFill>
                  <a:srgbClr val="00036D"/>
                </a:solidFill>
              </a:defRPr>
            </a:lvl4pPr>
            <a:lvl5pPr>
              <a:defRPr b="0">
                <a:solidFill>
                  <a:srgbClr val="00036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814918" y="1524000"/>
            <a:ext cx="8332877" cy="0"/>
          </a:xfrm>
          <a:prstGeom prst="line">
            <a:avLst/>
          </a:prstGeom>
          <a:ln w="19050">
            <a:solidFill>
              <a:srgbClr val="FF850E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Picture Placeholder 10"/>
          <p:cNvSpPr>
            <a:spLocks noGrp="1"/>
          </p:cNvSpPr>
          <p:nvPr>
            <p:ph type="pic" sz="quarter" idx="18"/>
          </p:nvPr>
        </p:nvSpPr>
        <p:spPr>
          <a:xfrm>
            <a:off x="6705600" y="3962401"/>
            <a:ext cx="2348057" cy="2058544"/>
          </a:xfrm>
        </p:spPr>
        <p:txBody>
          <a:bodyPr anchor="ctr"/>
          <a:lstStyle>
            <a:lvl1pPr marL="0" indent="0" algn="ctr">
              <a:buClr>
                <a:srgbClr val="FF850E"/>
              </a:buClr>
              <a:buNone/>
              <a:defRPr>
                <a:solidFill>
                  <a:srgbClr val="00036D"/>
                </a:solidFill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0"/>
          <p:cNvSpPr>
            <a:spLocks noGrp="1"/>
          </p:cNvSpPr>
          <p:nvPr>
            <p:ph type="pic" sz="quarter" idx="19"/>
          </p:nvPr>
        </p:nvSpPr>
        <p:spPr>
          <a:xfrm>
            <a:off x="9245601" y="3962401"/>
            <a:ext cx="2348057" cy="2058544"/>
          </a:xfrm>
        </p:spPr>
        <p:txBody>
          <a:bodyPr anchor="ctr"/>
          <a:lstStyle>
            <a:lvl1pPr marL="0" indent="0" algn="ctr">
              <a:buClr>
                <a:srgbClr val="FF850E"/>
              </a:buClr>
              <a:buNone/>
              <a:defRPr>
                <a:solidFill>
                  <a:srgbClr val="00036D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6705600" y="1752600"/>
            <a:ext cx="4876800" cy="2057400"/>
          </a:xfrm>
        </p:spPr>
        <p:txBody>
          <a:bodyPr anchor="ctr"/>
          <a:lstStyle>
            <a:lvl1pPr marL="0" indent="0" algn="ctr">
              <a:buClr>
                <a:srgbClr val="FF850E"/>
              </a:buClr>
              <a:buNone/>
              <a:defRPr>
                <a:solidFill>
                  <a:srgbClr val="00036D"/>
                </a:solidFill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2327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_Slide_5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61" y="228600"/>
            <a:ext cx="11711124" cy="6114522"/>
          </a:xfrm>
          <a:prstGeom prst="rect">
            <a:avLst/>
          </a:prstGeom>
        </p:spPr>
      </p:pic>
      <p:sp>
        <p:nvSpPr>
          <p:cNvPr id="15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14920" y="931200"/>
            <a:ext cx="5890681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rgbClr val="FF850E"/>
                </a:solidFill>
              </a:defRPr>
            </a:lvl1pPr>
          </a:lstStyle>
          <a:p>
            <a:r>
              <a:rPr lang="en-GB" noProof="0" dirty="0"/>
              <a:t>Space for short optional subtitle, 1 sentence, 1-2 lines, no dot at the end 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812800" y="475200"/>
            <a:ext cx="82296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FF850E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7"/>
          </p:nvPr>
        </p:nvSpPr>
        <p:spPr>
          <a:xfrm>
            <a:off x="812800" y="1752600"/>
            <a:ext cx="5384800" cy="4267200"/>
          </a:xfrm>
        </p:spPr>
        <p:txBody>
          <a:bodyPr/>
          <a:lstStyle>
            <a:lvl1pPr>
              <a:defRPr>
                <a:solidFill>
                  <a:srgbClr val="00036D"/>
                </a:solidFill>
              </a:defRPr>
            </a:lvl1pPr>
            <a:lvl2pPr>
              <a:defRPr b="0">
                <a:solidFill>
                  <a:srgbClr val="00036D"/>
                </a:solidFill>
              </a:defRPr>
            </a:lvl2pPr>
            <a:lvl3pPr>
              <a:defRPr b="0">
                <a:solidFill>
                  <a:srgbClr val="00036D"/>
                </a:solidFill>
              </a:defRPr>
            </a:lvl3pPr>
            <a:lvl4pPr>
              <a:defRPr b="0">
                <a:solidFill>
                  <a:srgbClr val="00036D"/>
                </a:solidFill>
              </a:defRPr>
            </a:lvl4pPr>
            <a:lvl5pPr>
              <a:defRPr b="0">
                <a:solidFill>
                  <a:srgbClr val="00036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618362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8793E3C-14E2-42B1-B645-C2A3099E63F5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531962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531962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9" name="Picture 23" descr="Pöyry_logo_30_m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867" y="6400800"/>
            <a:ext cx="1727200" cy="381000"/>
          </a:xfrm>
          <a:prstGeom prst="rect">
            <a:avLst/>
          </a:prstGeom>
          <a:noFill/>
        </p:spPr>
      </p:pic>
      <p:sp>
        <p:nvSpPr>
          <p:cNvPr id="20" name="Rectangle 25"/>
          <p:cNvSpPr>
            <a:spLocks noChangeArrowheads="1"/>
          </p:cNvSpPr>
          <p:nvPr userDrawn="1"/>
        </p:nvSpPr>
        <p:spPr bwMode="auto">
          <a:xfrm>
            <a:off x="5039785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>
                <a:solidFill>
                  <a:schemeClr val="bg1">
                    <a:lumMod val="50000"/>
                  </a:schemeClr>
                </a:solidFill>
              </a:rPr>
              <a:t>COPYRIGHT©PÖYRY</a:t>
            </a:r>
          </a:p>
        </p:txBody>
      </p:sp>
      <p:sp>
        <p:nvSpPr>
          <p:cNvPr id="26" name="Line 17"/>
          <p:cNvSpPr>
            <a:spLocks noChangeShapeType="1"/>
          </p:cNvSpPr>
          <p:nvPr userDrawn="1"/>
        </p:nvSpPr>
        <p:spPr bwMode="auto">
          <a:xfrm>
            <a:off x="239184" y="6364586"/>
            <a:ext cx="11707283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814918" y="1524000"/>
            <a:ext cx="8332877" cy="0"/>
          </a:xfrm>
          <a:prstGeom prst="line">
            <a:avLst/>
          </a:prstGeom>
          <a:ln w="19050">
            <a:solidFill>
              <a:srgbClr val="FF850E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0"/>
          <p:cNvSpPr>
            <a:spLocks noGrp="1"/>
          </p:cNvSpPr>
          <p:nvPr>
            <p:ph type="pic" sz="quarter" idx="20"/>
          </p:nvPr>
        </p:nvSpPr>
        <p:spPr>
          <a:xfrm>
            <a:off x="6705600" y="1761859"/>
            <a:ext cx="2336800" cy="2076716"/>
          </a:xfrm>
        </p:spPr>
        <p:txBody>
          <a:bodyPr anchor="ctr"/>
          <a:lstStyle>
            <a:lvl1pPr marL="0" indent="0" algn="ctr">
              <a:buClr>
                <a:srgbClr val="FF850E"/>
              </a:buClr>
              <a:buNone/>
              <a:defRPr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0"/>
          <p:cNvSpPr>
            <a:spLocks noGrp="1"/>
          </p:cNvSpPr>
          <p:nvPr>
            <p:ph type="pic" sz="quarter" idx="21"/>
          </p:nvPr>
        </p:nvSpPr>
        <p:spPr>
          <a:xfrm>
            <a:off x="9143999" y="1761859"/>
            <a:ext cx="2336800" cy="2076716"/>
          </a:xfrm>
        </p:spPr>
        <p:txBody>
          <a:bodyPr anchor="ctr"/>
          <a:lstStyle>
            <a:lvl1pPr marL="0" indent="0" algn="ctr">
              <a:buClr>
                <a:srgbClr val="FF850E"/>
              </a:buClr>
              <a:buNone/>
              <a:defRPr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0"/>
          <p:cNvSpPr>
            <a:spLocks noGrp="1"/>
          </p:cNvSpPr>
          <p:nvPr>
            <p:ph type="pic" sz="quarter" idx="22"/>
          </p:nvPr>
        </p:nvSpPr>
        <p:spPr>
          <a:xfrm>
            <a:off x="6705600" y="3914775"/>
            <a:ext cx="2336800" cy="2076716"/>
          </a:xfrm>
        </p:spPr>
        <p:txBody>
          <a:bodyPr anchor="ctr"/>
          <a:lstStyle>
            <a:lvl1pPr marL="0" indent="0" algn="ctr">
              <a:buClr>
                <a:srgbClr val="FF850E"/>
              </a:buClr>
              <a:buNone/>
              <a:defRPr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0"/>
          <p:cNvSpPr>
            <a:spLocks noGrp="1"/>
          </p:cNvSpPr>
          <p:nvPr>
            <p:ph type="pic" sz="quarter" idx="23"/>
          </p:nvPr>
        </p:nvSpPr>
        <p:spPr>
          <a:xfrm>
            <a:off x="9143999" y="3914775"/>
            <a:ext cx="2336800" cy="2076716"/>
          </a:xfrm>
        </p:spPr>
        <p:txBody>
          <a:bodyPr anchor="ctr"/>
          <a:lstStyle>
            <a:lvl1pPr marL="0" indent="0" algn="ctr">
              <a:buClr>
                <a:srgbClr val="FF850E"/>
              </a:buClr>
              <a:buNone/>
              <a:defRPr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371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_Slid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62" y="228600"/>
            <a:ext cx="11711121" cy="6114522"/>
          </a:xfrm>
          <a:prstGeom prst="rect">
            <a:avLst/>
          </a:prstGeom>
        </p:spPr>
      </p:pic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618362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78279016-9D77-483B-9B95-6A6DA726D127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531962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531962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23" descr="Pöyry_logo_30_m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867" y="6400800"/>
            <a:ext cx="1727200" cy="381000"/>
          </a:xfrm>
          <a:prstGeom prst="rect">
            <a:avLst/>
          </a:prstGeom>
          <a:noFill/>
        </p:spPr>
      </p:pic>
      <p:sp>
        <p:nvSpPr>
          <p:cNvPr id="11" name="Rectangle 25"/>
          <p:cNvSpPr>
            <a:spLocks noChangeArrowheads="1"/>
          </p:cNvSpPr>
          <p:nvPr userDrawn="1"/>
        </p:nvSpPr>
        <p:spPr bwMode="auto">
          <a:xfrm>
            <a:off x="5039785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>
                <a:solidFill>
                  <a:schemeClr val="bg1">
                    <a:lumMod val="50000"/>
                  </a:schemeClr>
                </a:solidFill>
              </a:rPr>
              <a:t>COPYRIGHT©PÖYRY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14920" y="931200"/>
            <a:ext cx="5890681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rgbClr val="FF850E"/>
                </a:solidFill>
              </a:defRPr>
            </a:lvl1pPr>
          </a:lstStyle>
          <a:p>
            <a:r>
              <a:rPr lang="en-GB" noProof="0" dirty="0"/>
              <a:t>Space for short optional subtitle, 1 sentence, 1-2 lines, no dot at the end 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812800" y="475200"/>
            <a:ext cx="54864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FF850E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6"/>
          </p:nvPr>
        </p:nvSpPr>
        <p:spPr>
          <a:xfrm>
            <a:off x="6982885" y="1752600"/>
            <a:ext cx="4396316" cy="4267200"/>
          </a:xfrm>
        </p:spPr>
        <p:txBody>
          <a:bodyPr anchor="ctr"/>
          <a:lstStyle>
            <a:lvl1pPr marL="0" indent="0" algn="ctr">
              <a:buNone/>
              <a:defRPr>
                <a:solidFill>
                  <a:srgbClr val="00036D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Line 17"/>
          <p:cNvSpPr>
            <a:spLocks noChangeShapeType="1"/>
          </p:cNvSpPr>
          <p:nvPr userDrawn="1"/>
        </p:nvSpPr>
        <p:spPr bwMode="auto">
          <a:xfrm>
            <a:off x="239184" y="6364586"/>
            <a:ext cx="11707283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  <p:sp>
        <p:nvSpPr>
          <p:cNvPr id="14" name="Content Placeholder 21"/>
          <p:cNvSpPr>
            <a:spLocks noGrp="1"/>
          </p:cNvSpPr>
          <p:nvPr>
            <p:ph sz="quarter" idx="17"/>
          </p:nvPr>
        </p:nvSpPr>
        <p:spPr>
          <a:xfrm>
            <a:off x="812800" y="1752600"/>
            <a:ext cx="5384800" cy="4267200"/>
          </a:xfrm>
        </p:spPr>
        <p:txBody>
          <a:bodyPr/>
          <a:lstStyle>
            <a:lvl1pPr>
              <a:defRPr>
                <a:solidFill>
                  <a:srgbClr val="00036D"/>
                </a:solidFill>
              </a:defRPr>
            </a:lvl1pPr>
            <a:lvl2pPr>
              <a:defRPr b="0">
                <a:solidFill>
                  <a:srgbClr val="00036D"/>
                </a:solidFill>
              </a:defRPr>
            </a:lvl2pPr>
            <a:lvl3pPr>
              <a:defRPr b="0">
                <a:solidFill>
                  <a:srgbClr val="00036D"/>
                </a:solidFill>
              </a:defRPr>
            </a:lvl3pPr>
            <a:lvl4pPr>
              <a:defRPr b="0">
                <a:solidFill>
                  <a:srgbClr val="00036D"/>
                </a:solidFill>
              </a:defRPr>
            </a:lvl4pPr>
            <a:lvl5pPr>
              <a:defRPr b="0">
                <a:solidFill>
                  <a:srgbClr val="00036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812800" y="1524000"/>
            <a:ext cx="5996077" cy="0"/>
          </a:xfrm>
          <a:prstGeom prst="line">
            <a:avLst/>
          </a:prstGeom>
          <a:ln w="19050">
            <a:solidFill>
              <a:srgbClr val="FF850E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960253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_Slide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14920" y="931200"/>
            <a:ext cx="5890681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rgbClr val="001E6D"/>
                </a:solidFill>
              </a:defRPr>
            </a:lvl1pPr>
          </a:lstStyle>
          <a:p>
            <a:r>
              <a:rPr lang="en-GB" noProof="0" dirty="0"/>
              <a:t>Space for short optional subtitle, 1 sentence, 1-2 lines, no dot at the end 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812800" y="475200"/>
            <a:ext cx="54864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001E6D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618362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182C110-ACE1-4ECD-BB83-6402CB75644D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531962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531962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3" name="Picture 23" descr="Pöyry_logo_30_mm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7867" y="6400800"/>
            <a:ext cx="1727200" cy="381000"/>
          </a:xfrm>
          <a:prstGeom prst="rect">
            <a:avLst/>
          </a:prstGeom>
          <a:noFill/>
        </p:spPr>
      </p:pic>
      <p:sp>
        <p:nvSpPr>
          <p:cNvPr id="24" name="Rectangle 25"/>
          <p:cNvSpPr>
            <a:spLocks noChangeArrowheads="1"/>
          </p:cNvSpPr>
          <p:nvPr userDrawn="1"/>
        </p:nvSpPr>
        <p:spPr bwMode="auto">
          <a:xfrm>
            <a:off x="5039785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>
                <a:solidFill>
                  <a:schemeClr val="bg1">
                    <a:lumMod val="50000"/>
                  </a:schemeClr>
                </a:solidFill>
              </a:rPr>
              <a:t>COPYRIGHT©PÖYRY</a:t>
            </a:r>
          </a:p>
        </p:txBody>
      </p:sp>
      <p:sp>
        <p:nvSpPr>
          <p:cNvPr id="25" name="Line 17"/>
          <p:cNvSpPr>
            <a:spLocks noChangeShapeType="1"/>
          </p:cNvSpPr>
          <p:nvPr userDrawn="1"/>
        </p:nvSpPr>
        <p:spPr bwMode="auto">
          <a:xfrm>
            <a:off x="239184" y="6364586"/>
            <a:ext cx="11707283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62" y="228600"/>
            <a:ext cx="11711121" cy="6114522"/>
          </a:xfrm>
          <a:prstGeom prst="rect">
            <a:avLst/>
          </a:prstGeom>
        </p:spPr>
      </p:pic>
      <p:sp>
        <p:nvSpPr>
          <p:cNvPr id="14" name="Content Placeholder 21"/>
          <p:cNvSpPr>
            <a:spLocks noGrp="1"/>
          </p:cNvSpPr>
          <p:nvPr>
            <p:ph sz="quarter" idx="17"/>
          </p:nvPr>
        </p:nvSpPr>
        <p:spPr>
          <a:xfrm>
            <a:off x="812800" y="1752600"/>
            <a:ext cx="5384800" cy="4267200"/>
          </a:xfrm>
        </p:spPr>
        <p:txBody>
          <a:bodyPr/>
          <a:lstStyle>
            <a:lvl1pPr>
              <a:defRPr>
                <a:solidFill>
                  <a:srgbClr val="00036D"/>
                </a:solidFill>
              </a:defRPr>
            </a:lvl1pPr>
            <a:lvl2pPr>
              <a:defRPr b="0">
                <a:solidFill>
                  <a:srgbClr val="00036D"/>
                </a:solidFill>
              </a:defRPr>
            </a:lvl2pPr>
            <a:lvl3pPr>
              <a:defRPr b="0">
                <a:solidFill>
                  <a:srgbClr val="00036D"/>
                </a:solidFill>
              </a:defRPr>
            </a:lvl3pPr>
            <a:lvl4pPr>
              <a:defRPr b="0">
                <a:solidFill>
                  <a:srgbClr val="00036D"/>
                </a:solidFill>
              </a:defRPr>
            </a:lvl4pPr>
            <a:lvl5pPr>
              <a:defRPr b="0">
                <a:solidFill>
                  <a:srgbClr val="00036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815348" y="931813"/>
            <a:ext cx="5890681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rgbClr val="FF850E"/>
                </a:solidFill>
              </a:defRPr>
            </a:lvl1pPr>
          </a:lstStyle>
          <a:p>
            <a:r>
              <a:rPr lang="en-GB" noProof="0" dirty="0"/>
              <a:t>Space for short optional subtitle, 1 sentence, 1-2 lines, no dot at the end </a:t>
            </a:r>
          </a:p>
        </p:txBody>
      </p:sp>
      <p:sp>
        <p:nvSpPr>
          <p:cNvPr id="29" name="Title Placeholder 1"/>
          <p:cNvSpPr txBox="1">
            <a:spLocks/>
          </p:cNvSpPr>
          <p:nvPr userDrawn="1"/>
        </p:nvSpPr>
        <p:spPr>
          <a:xfrm>
            <a:off x="813228" y="475813"/>
            <a:ext cx="54864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 cap="all" baseline="0">
                <a:solidFill>
                  <a:srgbClr val="001E6D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rgbClr val="FF850E"/>
                </a:solidFill>
              </a:rPr>
              <a:t>Click to edit Master title style</a:t>
            </a:r>
            <a:endParaRPr lang="en-GB" sz="2000" dirty="0">
              <a:solidFill>
                <a:srgbClr val="FF850E"/>
              </a:solidFill>
            </a:endParaRPr>
          </a:p>
        </p:txBody>
      </p:sp>
      <p:cxnSp>
        <p:nvCxnSpPr>
          <p:cNvPr id="30" name="Straight Connector 29"/>
          <p:cNvCxnSpPr/>
          <p:nvPr userDrawn="1"/>
        </p:nvCxnSpPr>
        <p:spPr>
          <a:xfrm>
            <a:off x="812800" y="1524000"/>
            <a:ext cx="5996077" cy="0"/>
          </a:xfrm>
          <a:prstGeom prst="line">
            <a:avLst/>
          </a:prstGeom>
          <a:ln w="19050">
            <a:solidFill>
              <a:srgbClr val="FF850E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Picture Placeholder 10"/>
          <p:cNvSpPr>
            <a:spLocks noGrp="1"/>
          </p:cNvSpPr>
          <p:nvPr>
            <p:ph type="pic" sz="quarter" idx="18"/>
          </p:nvPr>
        </p:nvSpPr>
        <p:spPr>
          <a:xfrm>
            <a:off x="6705600" y="3962401"/>
            <a:ext cx="2348057" cy="2058544"/>
          </a:xfrm>
        </p:spPr>
        <p:txBody>
          <a:bodyPr anchor="ctr"/>
          <a:lstStyle>
            <a:lvl1pPr marL="0" indent="0" algn="ctr">
              <a:buClr>
                <a:srgbClr val="FF850E"/>
              </a:buClr>
              <a:buNone/>
              <a:defRPr>
                <a:solidFill>
                  <a:srgbClr val="00036D"/>
                </a:solidFill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0"/>
          <p:cNvSpPr>
            <a:spLocks noGrp="1"/>
          </p:cNvSpPr>
          <p:nvPr>
            <p:ph type="pic" sz="quarter" idx="19"/>
          </p:nvPr>
        </p:nvSpPr>
        <p:spPr>
          <a:xfrm>
            <a:off x="9245601" y="3962401"/>
            <a:ext cx="2348057" cy="2058544"/>
          </a:xfrm>
        </p:spPr>
        <p:txBody>
          <a:bodyPr anchor="ctr"/>
          <a:lstStyle>
            <a:lvl1pPr marL="0" indent="0" algn="ctr">
              <a:buClr>
                <a:srgbClr val="FF850E"/>
              </a:buClr>
              <a:buNone/>
              <a:defRPr>
                <a:solidFill>
                  <a:srgbClr val="00036D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6705600" y="1752600"/>
            <a:ext cx="4876800" cy="2057400"/>
          </a:xfrm>
        </p:spPr>
        <p:txBody>
          <a:bodyPr anchor="ctr"/>
          <a:lstStyle>
            <a:lvl1pPr marL="0" indent="0" algn="ctr">
              <a:buClr>
                <a:srgbClr val="FF850E"/>
              </a:buClr>
              <a:buNone/>
              <a:defRPr>
                <a:solidFill>
                  <a:srgbClr val="00036D"/>
                </a:solidFill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30222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_Slide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62" y="228600"/>
            <a:ext cx="11711121" cy="6114522"/>
          </a:xfrm>
          <a:prstGeom prst="rect">
            <a:avLst/>
          </a:prstGeom>
        </p:spPr>
      </p:pic>
      <p:sp>
        <p:nvSpPr>
          <p:cNvPr id="15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14920" y="931200"/>
            <a:ext cx="5890681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rgbClr val="FF850E"/>
                </a:solidFill>
              </a:defRPr>
            </a:lvl1pPr>
          </a:lstStyle>
          <a:p>
            <a:r>
              <a:rPr lang="en-GB" noProof="0" dirty="0"/>
              <a:t>Space for short optional subtitle, 1 sentence, 1-2 lines, no dot at the end 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812800" y="475200"/>
            <a:ext cx="5486400" cy="35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FF850E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618362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363AED33-412B-4265-A555-01E24ECA9F11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531962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531962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4" name="Picture 23" descr="Pöyry_logo_30_m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867" y="6400800"/>
            <a:ext cx="1727200" cy="381000"/>
          </a:xfrm>
          <a:prstGeom prst="rect">
            <a:avLst/>
          </a:prstGeom>
          <a:noFill/>
        </p:spPr>
      </p:pic>
      <p:sp>
        <p:nvSpPr>
          <p:cNvPr id="25" name="Rectangle 25"/>
          <p:cNvSpPr>
            <a:spLocks noChangeArrowheads="1"/>
          </p:cNvSpPr>
          <p:nvPr userDrawn="1"/>
        </p:nvSpPr>
        <p:spPr bwMode="auto">
          <a:xfrm>
            <a:off x="5039785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>
                <a:solidFill>
                  <a:schemeClr val="bg1">
                    <a:lumMod val="50000"/>
                  </a:schemeClr>
                </a:solidFill>
              </a:rPr>
              <a:t>COPYRIGHT©PÖYRY</a:t>
            </a:r>
          </a:p>
        </p:txBody>
      </p:sp>
      <p:sp>
        <p:nvSpPr>
          <p:cNvPr id="26" name="Line 17"/>
          <p:cNvSpPr>
            <a:spLocks noChangeShapeType="1"/>
          </p:cNvSpPr>
          <p:nvPr userDrawn="1"/>
        </p:nvSpPr>
        <p:spPr bwMode="auto">
          <a:xfrm>
            <a:off x="239184" y="6364586"/>
            <a:ext cx="11707283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  <p:sp>
        <p:nvSpPr>
          <p:cNvPr id="14" name="Content Placeholder 21"/>
          <p:cNvSpPr>
            <a:spLocks noGrp="1"/>
          </p:cNvSpPr>
          <p:nvPr>
            <p:ph sz="quarter" idx="17"/>
          </p:nvPr>
        </p:nvSpPr>
        <p:spPr>
          <a:xfrm>
            <a:off x="812800" y="1752600"/>
            <a:ext cx="5384800" cy="4267200"/>
          </a:xfrm>
        </p:spPr>
        <p:txBody>
          <a:bodyPr/>
          <a:lstStyle>
            <a:lvl1pPr>
              <a:defRPr>
                <a:solidFill>
                  <a:srgbClr val="00036D"/>
                </a:solidFill>
              </a:defRPr>
            </a:lvl1pPr>
            <a:lvl2pPr>
              <a:defRPr b="0">
                <a:solidFill>
                  <a:srgbClr val="00036D"/>
                </a:solidFill>
              </a:defRPr>
            </a:lvl2pPr>
            <a:lvl3pPr>
              <a:defRPr b="0">
                <a:solidFill>
                  <a:srgbClr val="00036D"/>
                </a:solidFill>
              </a:defRPr>
            </a:lvl3pPr>
            <a:lvl4pPr>
              <a:defRPr b="0">
                <a:solidFill>
                  <a:srgbClr val="00036D"/>
                </a:solidFill>
              </a:defRPr>
            </a:lvl4pPr>
            <a:lvl5pPr>
              <a:defRPr b="0">
                <a:solidFill>
                  <a:srgbClr val="00036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814918" y="1524000"/>
            <a:ext cx="5996077" cy="0"/>
          </a:xfrm>
          <a:prstGeom prst="line">
            <a:avLst/>
          </a:prstGeom>
          <a:ln w="19050">
            <a:solidFill>
              <a:srgbClr val="FF850E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0"/>
          <p:cNvSpPr>
            <a:spLocks noGrp="1"/>
          </p:cNvSpPr>
          <p:nvPr>
            <p:ph type="pic" sz="quarter" idx="20"/>
          </p:nvPr>
        </p:nvSpPr>
        <p:spPr>
          <a:xfrm>
            <a:off x="6705600" y="1761859"/>
            <a:ext cx="2336800" cy="2076716"/>
          </a:xfrm>
        </p:spPr>
        <p:txBody>
          <a:bodyPr anchor="ctr"/>
          <a:lstStyle>
            <a:lvl1pPr marL="0" indent="0" algn="ctr">
              <a:buClr>
                <a:srgbClr val="FF850E"/>
              </a:buClr>
              <a:buNone/>
              <a:defRPr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0"/>
          <p:cNvSpPr>
            <a:spLocks noGrp="1"/>
          </p:cNvSpPr>
          <p:nvPr>
            <p:ph type="pic" sz="quarter" idx="22"/>
          </p:nvPr>
        </p:nvSpPr>
        <p:spPr>
          <a:xfrm>
            <a:off x="6705600" y="3914775"/>
            <a:ext cx="2336800" cy="2076716"/>
          </a:xfrm>
        </p:spPr>
        <p:txBody>
          <a:bodyPr anchor="ctr"/>
          <a:lstStyle>
            <a:lvl1pPr marL="0" indent="0" algn="ctr">
              <a:buClr>
                <a:srgbClr val="FF850E"/>
              </a:buClr>
              <a:buNone/>
              <a:defRPr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0"/>
          <p:cNvSpPr>
            <a:spLocks noGrp="1"/>
          </p:cNvSpPr>
          <p:nvPr>
            <p:ph type="pic" sz="quarter" idx="23"/>
          </p:nvPr>
        </p:nvSpPr>
        <p:spPr>
          <a:xfrm>
            <a:off x="9143999" y="3914775"/>
            <a:ext cx="2336800" cy="2076716"/>
          </a:xfrm>
        </p:spPr>
        <p:txBody>
          <a:bodyPr anchor="ctr"/>
          <a:lstStyle>
            <a:lvl1pPr marL="0" indent="0" algn="ctr">
              <a:buClr>
                <a:srgbClr val="FF850E"/>
              </a:buClr>
              <a:buNone/>
              <a:defRPr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0"/>
          <p:cNvSpPr>
            <a:spLocks noGrp="1"/>
          </p:cNvSpPr>
          <p:nvPr>
            <p:ph type="pic" sz="quarter" idx="21"/>
          </p:nvPr>
        </p:nvSpPr>
        <p:spPr>
          <a:xfrm>
            <a:off x="9143999" y="1761859"/>
            <a:ext cx="2336800" cy="2076716"/>
          </a:xfrm>
        </p:spPr>
        <p:txBody>
          <a:bodyPr anchor="ctr"/>
          <a:lstStyle>
            <a:lvl1pPr marL="0" indent="0" algn="ctr">
              <a:buClr>
                <a:srgbClr val="FF850E"/>
              </a:buClr>
              <a:buNone/>
              <a:defRPr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1642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4684CB5B-5BC9-4F34-9A30-752FF1B25984}" type="datetime1">
              <a:rPr lang="ru-RU" smtClean="0"/>
              <a:t>27.09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205825FA-29CD-4D09-8601-44CCE2E60AA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985889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_Cover_Optio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71" y="230861"/>
            <a:ext cx="11704319" cy="6394139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3886200"/>
            <a:ext cx="9144000" cy="151871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90000"/>
              </a:lnSpc>
              <a:defRPr sz="1600" b="1" i="0" cap="none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0206264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_Cover_Optio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153" y="230861"/>
            <a:ext cx="11688756" cy="6394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2011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_Cover_Optio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152" y="230860"/>
            <a:ext cx="11688755" cy="6394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40768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6000" y="475200"/>
            <a:ext cx="10843200" cy="3564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6000" y="1627200"/>
            <a:ext cx="5184000" cy="4464000"/>
          </a:xfrm>
        </p:spPr>
        <p:txBody>
          <a:bodyPr lIns="0" tIns="0" rIns="36000" bIns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6000" y="1627200"/>
            <a:ext cx="5323200" cy="4464000"/>
          </a:xfrm>
        </p:spPr>
        <p:txBody>
          <a:bodyPr lIns="0" tIns="0" rIns="0" bIns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119F2-9B4E-4335-9C18-B01AA23399EE}" type="datetime1">
              <a:rPr lang="en-US" smtClean="0"/>
              <a:t>9/27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öyry Partnership Proposal for SIIA (Confidential)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Rectangle 25"/>
          <p:cNvSpPr>
            <a:spLocks noChangeArrowheads="1"/>
          </p:cNvSpPr>
          <p:nvPr userDrawn="1"/>
        </p:nvSpPr>
        <p:spPr bwMode="auto">
          <a:xfrm>
            <a:off x="5039785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/>
              <a:t>COPYRIGHT©PÖYRY</a:t>
            </a:r>
          </a:p>
        </p:txBody>
      </p:sp>
      <p:sp>
        <p:nvSpPr>
          <p:cNvPr id="9" name="Line 17"/>
          <p:cNvSpPr>
            <a:spLocks noChangeShapeType="1"/>
          </p:cNvSpPr>
          <p:nvPr userDrawn="1"/>
        </p:nvSpPr>
        <p:spPr bwMode="auto">
          <a:xfrm>
            <a:off x="239184" y="6315075"/>
            <a:ext cx="11707283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14918" y="979200"/>
            <a:ext cx="10850033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rgbClr val="001E6D"/>
                </a:solidFill>
              </a:defRPr>
            </a:lvl1pPr>
          </a:lstStyle>
          <a:p>
            <a:r>
              <a:rPr lang="en-GB" noProof="0" dirty="0"/>
              <a:t>Space for short optional subtitle/summary, 1 sentence, 1-2 lines, no dot at the end </a:t>
            </a:r>
          </a:p>
        </p:txBody>
      </p:sp>
    </p:spTree>
    <p:extLst>
      <p:ext uri="{BB962C8B-B14F-4D97-AF65-F5344CB8AC3E}">
        <p14:creationId xmlns:p14="http://schemas.microsoft.com/office/powerpoint/2010/main" val="24310100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6000" y="475200"/>
            <a:ext cx="10843200" cy="356400"/>
          </a:xfrm>
        </p:spPr>
        <p:txBody>
          <a:bodyPr/>
          <a:lstStyle>
            <a:lvl1pPr>
              <a:defRPr baseline="0">
                <a:solidFill>
                  <a:srgbClr val="001E6D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lIns="0" tIns="0" rIns="0" bIns="0">
            <a:noAutofit/>
          </a:bodyPr>
          <a:lstStyle>
            <a:lvl2pPr marL="450000">
              <a:defRPr/>
            </a:lvl2pPr>
            <a:lvl3pPr marL="720000" indent="-180000">
              <a:defRPr/>
            </a:lvl3pPr>
            <a:lvl5pPr marL="1260000"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FI">
                <a:solidFill>
                  <a:srgbClr val="000000"/>
                </a:solidFill>
              </a:rPr>
              <a:t>MARCH 2016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PÖYRY PRESENTATION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Line 17"/>
          <p:cNvSpPr>
            <a:spLocks noChangeShapeType="1"/>
          </p:cNvSpPr>
          <p:nvPr userDrawn="1"/>
        </p:nvSpPr>
        <p:spPr bwMode="auto">
          <a:xfrm>
            <a:off x="239184" y="6315075"/>
            <a:ext cx="11707283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>
              <a:solidFill>
                <a:srgbClr val="000000"/>
              </a:solidFill>
            </a:endParaRP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14918" y="979200"/>
            <a:ext cx="10850033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rgbClr val="001E6D"/>
                </a:solidFill>
              </a:defRPr>
            </a:lvl1pPr>
          </a:lstStyle>
          <a:p>
            <a:r>
              <a:rPr lang="en-GB" noProof="0" dirty="0"/>
              <a:t>Space for short optional subtitle/summary, 1 sentence, 1-2 lines, no dot at the end </a:t>
            </a:r>
          </a:p>
        </p:txBody>
      </p:sp>
    </p:spTree>
    <p:extLst>
      <p:ext uri="{BB962C8B-B14F-4D97-AF65-F5344CB8AC3E}">
        <p14:creationId xmlns:p14="http://schemas.microsoft.com/office/powerpoint/2010/main" val="37816389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6000" y="475200"/>
            <a:ext cx="10843200" cy="356400"/>
          </a:xfrm>
        </p:spPr>
        <p:txBody>
          <a:bodyPr/>
          <a:lstStyle>
            <a:lvl1pPr>
              <a:defRPr baseline="0">
                <a:solidFill>
                  <a:srgbClr val="001E6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lIns="0" tIns="0" rIns="0" bIns="0">
            <a:noAutofit/>
          </a:bodyPr>
          <a:lstStyle>
            <a:lvl2pPr marL="450000">
              <a:defRPr/>
            </a:lvl2pPr>
            <a:lvl3pPr marL="720000" indent="-180000">
              <a:defRPr/>
            </a:lvl3pPr>
            <a:lvl5pPr marL="126000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FI"/>
              <a:t>MARCH 2016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PÖYRY PRESENTATIO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25"/>
          <p:cNvSpPr>
            <a:spLocks noChangeArrowheads="1"/>
          </p:cNvSpPr>
          <p:nvPr userDrawn="1"/>
        </p:nvSpPr>
        <p:spPr bwMode="auto">
          <a:xfrm>
            <a:off x="5039785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/>
              <a:t>COPYRIGHT©PÖYRY</a:t>
            </a:r>
          </a:p>
        </p:txBody>
      </p:sp>
      <p:sp>
        <p:nvSpPr>
          <p:cNvPr id="8" name="Line 17"/>
          <p:cNvSpPr>
            <a:spLocks noChangeShapeType="1"/>
          </p:cNvSpPr>
          <p:nvPr userDrawn="1"/>
        </p:nvSpPr>
        <p:spPr bwMode="auto">
          <a:xfrm>
            <a:off x="239184" y="6315075"/>
            <a:ext cx="11707283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14918" y="979200"/>
            <a:ext cx="10850033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rgbClr val="001E6D"/>
                </a:solidFill>
              </a:defRPr>
            </a:lvl1pPr>
          </a:lstStyle>
          <a:p>
            <a:r>
              <a:rPr lang="en-GB" noProof="0" dirty="0"/>
              <a:t>Space for short optional subtitle/summary, 1 sentence, 1-2 lines, no dot at the end </a:t>
            </a:r>
          </a:p>
        </p:txBody>
      </p:sp>
    </p:spTree>
    <p:extLst>
      <p:ext uri="{BB962C8B-B14F-4D97-AF65-F5344CB8AC3E}">
        <p14:creationId xmlns:p14="http://schemas.microsoft.com/office/powerpoint/2010/main" val="19795736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olumn &amp;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6000" y="475200"/>
            <a:ext cx="10843200" cy="3564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6000" y="1627200"/>
            <a:ext cx="6144000" cy="4464000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52000" y="1627200"/>
            <a:ext cx="4512000" cy="4464000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FI"/>
              <a:t>MARCH 2016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ÖYRY PRESENTATIO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Rectangle 25"/>
          <p:cNvSpPr>
            <a:spLocks noChangeArrowheads="1"/>
          </p:cNvSpPr>
          <p:nvPr userDrawn="1"/>
        </p:nvSpPr>
        <p:spPr bwMode="auto">
          <a:xfrm>
            <a:off x="5039785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/>
              <a:t>COPYRIGHT©PÖYRY</a:t>
            </a:r>
          </a:p>
        </p:txBody>
      </p:sp>
      <p:sp>
        <p:nvSpPr>
          <p:cNvPr id="9" name="Line 17"/>
          <p:cNvSpPr>
            <a:spLocks noChangeShapeType="1"/>
          </p:cNvSpPr>
          <p:nvPr userDrawn="1"/>
        </p:nvSpPr>
        <p:spPr bwMode="auto">
          <a:xfrm>
            <a:off x="239184" y="6315075"/>
            <a:ext cx="11707283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14918" y="980378"/>
            <a:ext cx="10850033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rgbClr val="001E6D"/>
                </a:solidFill>
              </a:defRPr>
            </a:lvl1pPr>
          </a:lstStyle>
          <a:p>
            <a:r>
              <a:rPr lang="en-GB" noProof="0" dirty="0"/>
              <a:t>Space for short optional subtitle/summary, 1 sentence, 1-2 lines, no dot at the end </a:t>
            </a:r>
          </a:p>
        </p:txBody>
      </p:sp>
    </p:spTree>
    <p:extLst>
      <p:ext uri="{BB962C8B-B14F-4D97-AF65-F5344CB8AC3E}">
        <p14:creationId xmlns:p14="http://schemas.microsoft.com/office/powerpoint/2010/main" val="1687678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4"/>
            <a:ext cx="5389034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FEAD3F55-7BC7-4876-AE33-C7E8879E5F85}" type="datetime1">
              <a:rPr lang="ru-RU" smtClean="0"/>
              <a:t>27.09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88958E8D-CD1C-4FD2-B181-911018CF02E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482634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5ABE6DAC-FDAF-4E10-893F-7312FA18E742}" type="datetime1">
              <a:rPr lang="ru-RU" smtClean="0"/>
              <a:t>27.09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0B8C5714-57C7-4367-BE45-4DFB418164B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87538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C3F5C3F-4061-4271-BC91-27B95821EF73}" type="datetime1">
              <a:rPr lang="ru-RU" smtClean="0"/>
              <a:t>27.09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3B5B1C80-085E-4A8D-B103-1D5F74DAEA5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104951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6" y="273054"/>
            <a:ext cx="681566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47A1A3BA-78F0-4018-801B-B0781320D153}" type="datetime1">
              <a:rPr lang="ru-RU" smtClean="0"/>
              <a:t>27.09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EBFA1CA3-0E63-40BF-9AD5-363DF314BF4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956707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95ABA6B8-7152-4060-99B2-0A5C0B7C398A}" type="datetime1">
              <a:rPr lang="ru-RU" smtClean="0"/>
              <a:t>27.09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CF4BE07E-37E3-403E-B31F-33DC9E51FD9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178332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33" Type="http://schemas.openxmlformats.org/officeDocument/2006/relationships/slideLayout" Target="../slideLayouts/slideLayout46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slideLayout" Target="../slideLayouts/slideLayout4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slideLayout" Target="../slideLayouts/slideLayout45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44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Relationship Id="rId35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Заголовок 1"/>
          <p:cNvSpPr>
            <a:spLocks noGrp="1"/>
          </p:cNvSpPr>
          <p:nvPr>
            <p:ph type="title"/>
          </p:nvPr>
        </p:nvSpPr>
        <p:spPr bwMode="auto">
          <a:xfrm>
            <a:off x="609600" y="274639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051" name="Текст 2"/>
          <p:cNvSpPr>
            <a:spLocks noGrp="1"/>
          </p:cNvSpPr>
          <p:nvPr>
            <p:ph type="body" idx="1"/>
          </p:nvPr>
        </p:nvSpPr>
        <p:spPr bwMode="auto">
          <a:xfrm>
            <a:off x="609600" y="1600202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1200">
                <a:solidFill>
                  <a:prstClr val="black">
                    <a:tint val="75000"/>
                  </a:prstClr>
                </a:solidFill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3FB27BD-C9FF-4291-B684-BC89C5D803A3}" type="datetime1">
              <a:rPr lang="ru-RU" smtClean="0"/>
              <a:t>27.09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hangingPunct="1">
              <a:defRPr sz="1200">
                <a:solidFill>
                  <a:prstClr val="black">
                    <a:tint val="75000"/>
                  </a:prstClr>
                </a:solidFill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fld id="{B95BF77B-8E27-4EC7-A9CB-36076A8E934C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30" r:id="rId1"/>
    <p:sldLayoutId id="2147485131" r:id="rId2"/>
    <p:sldLayoutId id="2147485132" r:id="rId3"/>
    <p:sldLayoutId id="2147485133" r:id="rId4"/>
    <p:sldLayoutId id="2147485134" r:id="rId5"/>
    <p:sldLayoutId id="2147485135" r:id="rId6"/>
    <p:sldLayoutId id="2147485136" r:id="rId7"/>
    <p:sldLayoutId id="2147485137" r:id="rId8"/>
    <p:sldLayoutId id="2147485138" r:id="rId9"/>
    <p:sldLayoutId id="2147485139" r:id="rId10"/>
    <p:sldLayoutId id="2147485140" r:id="rId11"/>
    <p:sldLayoutId id="2147485147" r:id="rId12"/>
    <p:sldLayoutId id="2147485276" r:id="rId1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6000" y="1627200"/>
            <a:ext cx="10843200" cy="4464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152218" y="6562800"/>
            <a:ext cx="4223783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7086A70F-CAA4-43EA-9B26-559619F848E4}" type="datetime4">
              <a:rPr lang="en-US" smtClean="0"/>
              <a:pPr/>
              <a:t>September 27, 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2216" y="6476400"/>
            <a:ext cx="4224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r>
              <a:rPr lang="en-GB"/>
              <a:t>PÖYRY PRESENTATIO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4000" y="6476400"/>
            <a:ext cx="2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rgbClr val="00036D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23" descr="Pöyry_logo_30_mm_rgb"/>
          <p:cNvPicPr>
            <a:picLocks noChangeAspect="1" noChangeArrowheads="1"/>
          </p:cNvPicPr>
          <p:nvPr/>
        </p:nvPicPr>
        <p:blipFill>
          <a:blip r:embed="rId35" cstate="print"/>
          <a:srcRect/>
          <a:stretch>
            <a:fillRect/>
          </a:stretch>
        </p:blipFill>
        <p:spPr bwMode="auto">
          <a:xfrm>
            <a:off x="287867" y="6345238"/>
            <a:ext cx="1727200" cy="381000"/>
          </a:xfrm>
          <a:prstGeom prst="rect">
            <a:avLst/>
          </a:prstGeom>
          <a:noFill/>
        </p:spPr>
      </p:pic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816000" y="475200"/>
            <a:ext cx="10843200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8177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9" r:id="rId1"/>
    <p:sldLayoutId id="2147485150" r:id="rId2"/>
    <p:sldLayoutId id="2147485151" r:id="rId3"/>
    <p:sldLayoutId id="2147485152" r:id="rId4"/>
    <p:sldLayoutId id="2147485153" r:id="rId5"/>
    <p:sldLayoutId id="2147485154" r:id="rId6"/>
    <p:sldLayoutId id="2147485155" r:id="rId7"/>
    <p:sldLayoutId id="2147485156" r:id="rId8"/>
    <p:sldLayoutId id="2147485157" r:id="rId9"/>
    <p:sldLayoutId id="2147485158" r:id="rId10"/>
    <p:sldLayoutId id="2147485159" r:id="rId11"/>
    <p:sldLayoutId id="2147485160" r:id="rId12"/>
    <p:sldLayoutId id="2147485161" r:id="rId13"/>
    <p:sldLayoutId id="2147485162" r:id="rId14"/>
    <p:sldLayoutId id="2147485163" r:id="rId15"/>
    <p:sldLayoutId id="2147485164" r:id="rId16"/>
    <p:sldLayoutId id="2147485165" r:id="rId17"/>
    <p:sldLayoutId id="2147485166" r:id="rId18"/>
    <p:sldLayoutId id="2147485167" r:id="rId19"/>
    <p:sldLayoutId id="2147485168" r:id="rId20"/>
    <p:sldLayoutId id="2147485169" r:id="rId21"/>
    <p:sldLayoutId id="2147485170" r:id="rId22"/>
    <p:sldLayoutId id="2147485171" r:id="rId23"/>
    <p:sldLayoutId id="2147485172" r:id="rId24"/>
    <p:sldLayoutId id="2147485173" r:id="rId25"/>
    <p:sldLayoutId id="2147485174" r:id="rId26"/>
    <p:sldLayoutId id="2147485175" r:id="rId27"/>
    <p:sldLayoutId id="2147485176" r:id="rId28"/>
    <p:sldLayoutId id="2147485177" r:id="rId29"/>
    <p:sldLayoutId id="2147485178" r:id="rId30"/>
    <p:sldLayoutId id="2147485179" r:id="rId31"/>
    <p:sldLayoutId id="2147485180" r:id="rId32"/>
    <p:sldLayoutId id="2147485181" r:id="rId33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000" b="1" kern="1200" cap="all" baseline="0">
          <a:solidFill>
            <a:srgbClr val="FF850E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rgbClr val="FF850E"/>
        </a:buClr>
        <a:buSzPct val="110000"/>
        <a:buFont typeface="Symbol" pitchFamily="18" charset="2"/>
        <a:buChar char=""/>
        <a:defRPr sz="1800" b="0" kern="1200">
          <a:solidFill>
            <a:srgbClr val="001E6D"/>
          </a:solidFill>
          <a:latin typeface="Century Gothic" panose="020B0502020202020204" pitchFamily="34" charset="0"/>
          <a:ea typeface="+mn-ea"/>
          <a:cs typeface="+mn-cs"/>
        </a:defRPr>
      </a:lvl1pPr>
      <a:lvl2pPr marL="450000" indent="-180975" algn="l" defTabSz="914400" rtl="0" eaLnBrk="1" latinLnBrk="0" hangingPunct="1">
        <a:spcBef>
          <a:spcPct val="20000"/>
        </a:spcBef>
        <a:buClr>
          <a:srgbClr val="FF850E"/>
        </a:buClr>
        <a:buFont typeface="Arial" pitchFamily="34" charset="0"/>
        <a:buChar char="–"/>
        <a:defRPr sz="1600" b="0" kern="1200">
          <a:solidFill>
            <a:srgbClr val="001E6D"/>
          </a:solidFill>
          <a:latin typeface="Century Gothic" panose="020B0502020202020204" pitchFamily="34" charset="0"/>
          <a:ea typeface="+mn-ea"/>
          <a:cs typeface="+mn-cs"/>
        </a:defRPr>
      </a:lvl2pPr>
      <a:lvl3pPr marL="720000" indent="-180000" algn="l" defTabSz="914400" rtl="0" eaLnBrk="1" latinLnBrk="0" hangingPunct="1">
        <a:spcBef>
          <a:spcPct val="20000"/>
        </a:spcBef>
        <a:buClr>
          <a:srgbClr val="FF850E"/>
        </a:buClr>
        <a:buFont typeface="Arial" pitchFamily="34" charset="0"/>
        <a:buChar char="–"/>
        <a:defRPr sz="1600" b="0" kern="1200">
          <a:solidFill>
            <a:srgbClr val="001E6D"/>
          </a:solidFill>
          <a:latin typeface="Century Gothic" panose="020B0502020202020204" pitchFamily="34" charset="0"/>
          <a:ea typeface="+mn-ea"/>
          <a:cs typeface="+mn-cs"/>
        </a:defRPr>
      </a:lvl3pPr>
      <a:lvl4pPr marL="989013" indent="-180975" algn="l" defTabSz="914400" rtl="0" eaLnBrk="1" latinLnBrk="0" hangingPunct="1">
        <a:spcBef>
          <a:spcPts val="336"/>
        </a:spcBef>
        <a:buClr>
          <a:srgbClr val="FF850E"/>
        </a:buClr>
        <a:buFont typeface="Arial" pitchFamily="34" charset="0"/>
        <a:buChar char="–"/>
        <a:defRPr sz="1600" b="0" kern="1200">
          <a:solidFill>
            <a:srgbClr val="001E6D"/>
          </a:solidFill>
          <a:latin typeface="Century Gothic" panose="020B0502020202020204" pitchFamily="34" charset="0"/>
          <a:ea typeface="+mn-ea"/>
          <a:cs typeface="+mn-cs"/>
        </a:defRPr>
      </a:lvl4pPr>
      <a:lvl5pPr marL="1260000" indent="-180975" algn="l" defTabSz="914400" rtl="0" eaLnBrk="1" latinLnBrk="0" hangingPunct="1">
        <a:spcBef>
          <a:spcPct val="20000"/>
        </a:spcBef>
        <a:buClr>
          <a:srgbClr val="FF850E"/>
        </a:buClr>
        <a:buFont typeface="Arial" pitchFamily="34" charset="0"/>
        <a:buChar char="–"/>
        <a:defRPr sz="1600" b="0" kern="1200">
          <a:solidFill>
            <a:srgbClr val="001E6D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jpg"/><Relationship Id="rId4" Type="http://schemas.openxmlformats.org/officeDocument/2006/relationships/image" Target="../media/image1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1.jpeg"/><Relationship Id="rId7" Type="http://schemas.openxmlformats.org/officeDocument/2006/relationships/image" Target="../media/image18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Relationship Id="rId9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8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0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.xml"/><Relationship Id="rId6" Type="http://schemas.microsoft.com/office/2007/relationships/hdphoto" Target="../media/hdphoto2.wdp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18.jpeg"/><Relationship Id="rId3" Type="http://schemas.openxmlformats.org/officeDocument/2006/relationships/image" Target="../media/image49.jpg"/><Relationship Id="rId7" Type="http://schemas.openxmlformats.org/officeDocument/2006/relationships/image" Target="../media/image53.jpg"/><Relationship Id="rId12" Type="http://schemas.openxmlformats.org/officeDocument/2006/relationships/image" Target="../media/image58.png"/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11" Type="http://schemas.openxmlformats.org/officeDocument/2006/relationships/image" Target="../media/image57.jpg"/><Relationship Id="rId5" Type="http://schemas.openxmlformats.org/officeDocument/2006/relationships/image" Target="../media/image51.jpg"/><Relationship Id="rId10" Type="http://schemas.openxmlformats.org/officeDocument/2006/relationships/image" Target="../media/image56.emf"/><Relationship Id="rId4" Type="http://schemas.openxmlformats.org/officeDocument/2006/relationships/image" Target="../media/image50.jpg"/><Relationship Id="rId9" Type="http://schemas.openxmlformats.org/officeDocument/2006/relationships/image" Target="../media/image5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59.png"/><Relationship Id="rId7" Type="http://schemas.openxmlformats.org/officeDocument/2006/relationships/image" Target="../media/image63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10" Type="http://schemas.openxmlformats.org/officeDocument/2006/relationships/image" Target="../media/image18.jpeg"/><Relationship Id="rId4" Type="http://schemas.openxmlformats.org/officeDocument/2006/relationships/image" Target="../media/image60.png"/><Relationship Id="rId9" Type="http://schemas.openxmlformats.org/officeDocument/2006/relationships/image" Target="../media/image6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png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jpeg"/><Relationship Id="rId4" Type="http://schemas.openxmlformats.org/officeDocument/2006/relationships/chart" Target="../charts/chart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jpg"/><Relationship Id="rId3" Type="http://schemas.openxmlformats.org/officeDocument/2006/relationships/image" Target="../media/image67.jpg"/><Relationship Id="rId7" Type="http://schemas.openxmlformats.org/officeDocument/2006/relationships/image" Target="../media/image71.jpg"/><Relationship Id="rId2" Type="http://schemas.openxmlformats.org/officeDocument/2006/relationships/image" Target="../media/image66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0.jpg"/><Relationship Id="rId5" Type="http://schemas.openxmlformats.org/officeDocument/2006/relationships/image" Target="../media/image69.jpg"/><Relationship Id="rId4" Type="http://schemas.openxmlformats.org/officeDocument/2006/relationships/image" Target="../media/image68.jpg"/><Relationship Id="rId9" Type="http://schemas.openxmlformats.org/officeDocument/2006/relationships/image" Target="../media/image18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5.jpg"/><Relationship Id="rId5" Type="http://schemas.openxmlformats.org/officeDocument/2006/relationships/image" Target="../media/image74.emf"/><Relationship Id="rId4" Type="http://schemas.openxmlformats.org/officeDocument/2006/relationships/image" Target="../media/image73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76.png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9.emf"/><Relationship Id="rId5" Type="http://schemas.openxmlformats.org/officeDocument/2006/relationships/image" Target="../media/image78.png"/><Relationship Id="rId4" Type="http://schemas.openxmlformats.org/officeDocument/2006/relationships/image" Target="../media/image77.jpeg"/><Relationship Id="rId9" Type="http://schemas.openxmlformats.org/officeDocument/2006/relationships/image" Target="../media/image17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jp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1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emf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0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emf"/><Relationship Id="rId7" Type="http://schemas.openxmlformats.org/officeDocument/2006/relationships/image" Target="../media/image95.emf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4.emf"/><Relationship Id="rId5" Type="http://schemas.openxmlformats.org/officeDocument/2006/relationships/image" Target="../media/image93.png"/><Relationship Id="rId4" Type="http://schemas.openxmlformats.org/officeDocument/2006/relationships/image" Target="../media/image92.emf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Объект 4">
            <a:extLst>
              <a:ext uri="{FF2B5EF4-FFF2-40B4-BE49-F238E27FC236}">
                <a16:creationId xmlns:a16="http://schemas.microsoft.com/office/drawing/2014/main" id="{903A7DD9-C96E-4ED7-83F9-2E2479C435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532272"/>
            <a:ext cx="11377264" cy="1775489"/>
          </a:xfrm>
        </p:spPr>
        <p:txBody>
          <a:bodyPr/>
          <a:lstStyle/>
          <a:p>
            <a:pPr marL="0" indent="0" algn="ctr">
              <a:buNone/>
            </a:pPr>
            <a:r>
              <a:rPr lang="ru-RU" sz="3000" cap="all" dirty="0"/>
              <a:t>исключительное базовое сырье для </a:t>
            </a:r>
            <a:r>
              <a:rPr lang="ru-RU" sz="3000" cap="all" dirty="0" err="1"/>
              <a:t>биоэкономики</a:t>
            </a:r>
            <a:r>
              <a:rPr lang="ru-RU" sz="3000" cap="all" dirty="0"/>
              <a:t>,</a:t>
            </a:r>
          </a:p>
          <a:p>
            <a:pPr marL="0" indent="0" algn="ctr">
              <a:buNone/>
            </a:pPr>
            <a:r>
              <a:rPr lang="ru-RU" sz="3000" cap="all" dirty="0"/>
              <a:t>инструмент экологизации предприятий лесопромышленного комплекса России</a:t>
            </a:r>
          </a:p>
          <a:p>
            <a:pPr marL="0" indent="0" algn="ctr">
              <a:buNone/>
            </a:pPr>
            <a:r>
              <a:rPr lang="ru-RU" sz="3000" cap="all" dirty="0"/>
              <a:t> </a:t>
            </a:r>
          </a:p>
        </p:txBody>
      </p:sp>
      <p:sp>
        <p:nvSpPr>
          <p:cNvPr id="6" name="Объект 4">
            <a:extLst>
              <a:ext uri="{FF2B5EF4-FFF2-40B4-BE49-F238E27FC236}">
                <a16:creationId xmlns:a16="http://schemas.microsoft.com/office/drawing/2014/main" id="{5A103604-CCD5-4EBF-9AC2-B8A25230271F}"/>
              </a:ext>
            </a:extLst>
          </p:cNvPr>
          <p:cNvSpPr txBox="1">
            <a:spLocks/>
          </p:cNvSpPr>
          <p:nvPr/>
        </p:nvSpPr>
        <p:spPr bwMode="auto">
          <a:xfrm>
            <a:off x="609600" y="459158"/>
            <a:ext cx="10972800" cy="807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4800" b="1" cap="all" dirty="0">
                <a:solidFill>
                  <a:srgbClr val="006600"/>
                </a:solidFill>
              </a:rPr>
              <a:t>агро-</a:t>
            </a:r>
            <a:r>
              <a:rPr lang="ru-RU" sz="4800" b="1" cap="all" dirty="0" err="1">
                <a:solidFill>
                  <a:srgbClr val="006600"/>
                </a:solidFill>
              </a:rPr>
              <a:t>форестри</a:t>
            </a:r>
            <a:endParaRPr lang="ru-RU" sz="4800" b="1" cap="all" dirty="0">
              <a:solidFill>
                <a:srgbClr val="006600"/>
              </a:solidFill>
            </a:endParaRPr>
          </a:p>
        </p:txBody>
      </p:sp>
      <p:sp>
        <p:nvSpPr>
          <p:cNvPr id="7" name="Объект 4">
            <a:extLst>
              <a:ext uri="{FF2B5EF4-FFF2-40B4-BE49-F238E27FC236}">
                <a16:creationId xmlns:a16="http://schemas.microsoft.com/office/drawing/2014/main" id="{3E1F94BB-902B-434E-A5E0-74028DEC4CF9}"/>
              </a:ext>
            </a:extLst>
          </p:cNvPr>
          <p:cNvSpPr txBox="1">
            <a:spLocks/>
          </p:cNvSpPr>
          <p:nvPr/>
        </p:nvSpPr>
        <p:spPr bwMode="auto">
          <a:xfrm>
            <a:off x="1271464" y="5929064"/>
            <a:ext cx="10162900" cy="450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2800" cap="all" dirty="0"/>
              <a:t>2020</a:t>
            </a: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90EBDFE7-663C-4A27-BE77-A974C46CA982}"/>
              </a:ext>
            </a:extLst>
          </p:cNvPr>
          <p:cNvGrpSpPr/>
          <p:nvPr/>
        </p:nvGrpSpPr>
        <p:grpSpPr>
          <a:xfrm>
            <a:off x="1271464" y="3290056"/>
            <a:ext cx="10162900" cy="2515208"/>
            <a:chOff x="1271464" y="3140968"/>
            <a:chExt cx="10162900" cy="2515208"/>
          </a:xfrm>
        </p:grpSpPr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FA65F27D-CBB5-419D-9503-42EEEAB8DE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71464" y="3140968"/>
              <a:ext cx="10162900" cy="2515208"/>
            </a:xfrm>
            <a:prstGeom prst="rect">
              <a:avLst/>
            </a:prstGeom>
          </p:spPr>
        </p:pic>
        <p:pic>
          <p:nvPicPr>
            <p:cNvPr id="2" name="Рисунок 1">
              <a:extLst>
                <a:ext uri="{FF2B5EF4-FFF2-40B4-BE49-F238E27FC236}">
                  <a16:creationId xmlns:a16="http://schemas.microsoft.com/office/drawing/2014/main" id="{6D82A05E-8AEF-4787-8423-6F72E00932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10986"/>
            <a:stretch/>
          </p:blipFill>
          <p:spPr>
            <a:xfrm>
              <a:off x="8014816" y="3193926"/>
              <a:ext cx="3347293" cy="2410397"/>
            </a:xfrm>
            <a:prstGeom prst="rect">
              <a:avLst/>
            </a:prstGeom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8B362BD9-9480-4E4F-8E9F-157FFD593B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581" b="22700"/>
            <a:stretch/>
          </p:blipFill>
          <p:spPr>
            <a:xfrm>
              <a:off x="1309583" y="3182558"/>
              <a:ext cx="3850313" cy="24497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186426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Прямоугольник 4"/>
          <p:cNvSpPr>
            <a:spLocks noChangeArrowheads="1"/>
          </p:cNvSpPr>
          <p:nvPr/>
        </p:nvSpPr>
        <p:spPr bwMode="auto">
          <a:xfrm>
            <a:off x="582125" y="2079926"/>
            <a:ext cx="8106164" cy="1538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России каждый год продаётся более 26 млрд одноразовых пластиковых пакетов. Большинство из них используется только один раз, чтобы принести продукты из магазина. Ежегодно это приводит к образованию не менее, чем 130 тыс. тонн отходов пластиковых пакетов. Более 45 тыс. тонн отходов от одноразовой пластиковой посуды.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среднем один сетевой магазин использует до 1 тонны фасовочных пакетов и более 100 кг. фасовочных лотков в год.</a:t>
            </a:r>
          </a:p>
        </p:txBody>
      </p:sp>
      <p:sp>
        <p:nvSpPr>
          <p:cNvPr id="13" name="TextBox 5"/>
          <p:cNvSpPr txBox="1">
            <a:spLocks noChangeArrowheads="1"/>
          </p:cNvSpPr>
          <p:nvPr/>
        </p:nvSpPr>
        <p:spPr bwMode="auto">
          <a:xfrm>
            <a:off x="767408" y="174290"/>
            <a:ext cx="10657184" cy="43088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 contourW="12700" prstMaterial="dkEdge">
            <a:bevelT/>
            <a:bevelB/>
            <a:contourClr>
              <a:schemeClr val="bg1"/>
            </a:contourClr>
          </a:sp3d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      Экологические инициативы – драйвер спроса на целлюлозную упаковку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537184DF-E4D5-4D97-8FEE-C7B7B8356573}"/>
              </a:ext>
            </a:extLst>
          </p:cNvPr>
          <p:cNvGrpSpPr>
            <a:grpSpLocks noChangeAspect="1"/>
          </p:cNvGrpSpPr>
          <p:nvPr/>
        </p:nvGrpSpPr>
        <p:grpSpPr>
          <a:xfrm>
            <a:off x="8838634" y="1887406"/>
            <a:ext cx="2700373" cy="1560672"/>
            <a:chOff x="1415480" y="2381282"/>
            <a:chExt cx="7444333" cy="4302428"/>
          </a:xfrm>
        </p:grpSpPr>
        <p:pic>
          <p:nvPicPr>
            <p:cNvPr id="7" name="Рисунок 6" descr="Изображение выглядит как еда, внутренний, наполненный, магазин&#10;&#10;Описание создано с очень высокой степенью достоверности">
              <a:extLst>
                <a:ext uri="{FF2B5EF4-FFF2-40B4-BE49-F238E27FC236}">
                  <a16:creationId xmlns:a16="http://schemas.microsoft.com/office/drawing/2014/main" id="{B5B6CDE4-0D36-4DEC-9083-FC731893AA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9419"/>
            <a:stretch/>
          </p:blipFill>
          <p:spPr>
            <a:xfrm>
              <a:off x="6135432" y="4694104"/>
              <a:ext cx="2724381" cy="1986576"/>
            </a:xfrm>
            <a:prstGeom prst="rect">
              <a:avLst/>
            </a:prstGeom>
            <a:effectLst>
              <a:softEdge rad="25400"/>
            </a:effectLst>
          </p:spPr>
        </p:pic>
        <p:pic>
          <p:nvPicPr>
            <p:cNvPr id="9" name="Рисунок 8" descr="Изображение выглядит как внутренний, еда&#10;&#10;Описание создано с очень высокой степенью достоверности">
              <a:extLst>
                <a:ext uri="{FF2B5EF4-FFF2-40B4-BE49-F238E27FC236}">
                  <a16:creationId xmlns:a16="http://schemas.microsoft.com/office/drawing/2014/main" id="{EE005463-841D-4B93-BBE9-BB3F4447C57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44647" y="2381282"/>
              <a:ext cx="1810975" cy="2305376"/>
            </a:xfrm>
            <a:prstGeom prst="rect">
              <a:avLst/>
            </a:prstGeom>
            <a:effectLst>
              <a:softEdge rad="25400"/>
            </a:effectLst>
          </p:spPr>
        </p:pic>
        <p:pic>
          <p:nvPicPr>
            <p:cNvPr id="15" name="Рисунок 14" descr="Изображение выглядит как внутренний, наполненный&#10;&#10;Описание создано с высокой степенью достоверности">
              <a:extLst>
                <a:ext uri="{FF2B5EF4-FFF2-40B4-BE49-F238E27FC236}">
                  <a16:creationId xmlns:a16="http://schemas.microsoft.com/office/drawing/2014/main" id="{D2CD3C44-B48A-498B-A02D-ECCFDC2249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972"/>
            <a:stretch/>
          </p:blipFill>
          <p:spPr>
            <a:xfrm>
              <a:off x="6063333" y="2381282"/>
              <a:ext cx="2796480" cy="2282393"/>
            </a:xfrm>
            <a:prstGeom prst="rect">
              <a:avLst/>
            </a:prstGeom>
            <a:effectLst>
              <a:softEdge rad="25400"/>
            </a:effectLst>
          </p:spPr>
        </p:pic>
        <p:pic>
          <p:nvPicPr>
            <p:cNvPr id="17" name="Рисунок 16" descr="Изображение выглядит как еда, внутренний, стол, наполненный&#10;&#10;Описание создано с очень высокой степенью достоверности">
              <a:extLst>
                <a:ext uri="{FF2B5EF4-FFF2-40B4-BE49-F238E27FC236}">
                  <a16:creationId xmlns:a16="http://schemas.microsoft.com/office/drawing/2014/main" id="{DBB1860C-2DE8-4BEC-A78B-C0791CEE40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343"/>
            <a:stretch/>
          </p:blipFill>
          <p:spPr>
            <a:xfrm>
              <a:off x="1435059" y="2381282"/>
              <a:ext cx="2812612" cy="2305376"/>
            </a:xfrm>
            <a:prstGeom prst="rect">
              <a:avLst/>
            </a:prstGeom>
            <a:effectLst>
              <a:softEdge rad="25400"/>
            </a:effectLst>
          </p:spPr>
        </p:pic>
        <p:pic>
          <p:nvPicPr>
            <p:cNvPr id="3" name="Рисунок 2" descr="Изображение выглядит как красный, внутренний, стена, здание&#10;&#10;Описание создано с очень высокой степенью достоверности">
              <a:extLst>
                <a:ext uri="{FF2B5EF4-FFF2-40B4-BE49-F238E27FC236}">
                  <a16:creationId xmlns:a16="http://schemas.microsoft.com/office/drawing/2014/main" id="{EE0513B6-7E39-4C14-B58A-4E71C66D4C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35" t="18634" r="11656" b="22803"/>
            <a:stretch/>
          </p:blipFill>
          <p:spPr>
            <a:xfrm>
              <a:off x="1415480" y="4694104"/>
              <a:ext cx="4719952" cy="1989606"/>
            </a:xfrm>
            <a:prstGeom prst="rect">
              <a:avLst/>
            </a:prstGeom>
            <a:effectLst>
              <a:softEdge rad="25400"/>
            </a:effectLst>
          </p:spPr>
        </p:pic>
      </p:grpSp>
      <p:pic>
        <p:nvPicPr>
          <p:cNvPr id="12" name="Picture 7" descr="\\andritz.com\Unit\PPF\Sales\_Projects\Croatia\Q-028274_Pan_Papir_Miscanthus_Trial_offer\06_Meetings_Presentations\florid1.jpg">
            <a:extLst>
              <a:ext uri="{FF2B5EF4-FFF2-40B4-BE49-F238E27FC236}">
                <a16:creationId xmlns:a16="http://schemas.microsoft.com/office/drawing/2014/main" id="{5F4FF9EB-30AB-4AE7-A829-2895E2D173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51384" y="158752"/>
            <a:ext cx="504056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63500"/>
          </a:effectLst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14" name="Прямоугольник 4">
            <a:extLst>
              <a:ext uri="{FF2B5EF4-FFF2-40B4-BE49-F238E27FC236}">
                <a16:creationId xmlns:a16="http://schemas.microsoft.com/office/drawing/2014/main" id="{83EE0FE2-918C-46D7-B196-FD6BCB84B7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39616" y="836712"/>
            <a:ext cx="8784975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аны Евросоюза вводят запрет на одноразовую пластиковую посуду, приборы, ватные палочки и соломинки для напитков. Ограничительные меры коснутся только тех изделий,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ля которых уже существует доступная альтернатива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в том числе и пластиковым пакетам.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356DB2B4-743F-4C7E-91CE-35B450CB48F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4132" y="919555"/>
            <a:ext cx="1913476" cy="1088363"/>
          </a:xfrm>
          <a:prstGeom prst="rect">
            <a:avLst/>
          </a:prstGeom>
        </p:spPr>
      </p:pic>
      <p:sp>
        <p:nvSpPr>
          <p:cNvPr id="18" name="Прямоугольник 4">
            <a:extLst>
              <a:ext uri="{FF2B5EF4-FFF2-40B4-BE49-F238E27FC236}">
                <a16:creationId xmlns:a16="http://schemas.microsoft.com/office/drawing/2014/main" id="{7B3019C7-136E-4877-A3F7-FF6E87A24B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133" y="3597730"/>
            <a:ext cx="8898252" cy="1892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итейлеры приступают к реализации стратегии по отказу от одноразовой пластиковой упаковки:</a:t>
            </a:r>
          </a:p>
          <a:p>
            <a:pPr marL="342900" marR="0" lvl="0" indent="-3429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каз от бесплатного распространения или продажи одноразовых пластиковых пакетов;</a:t>
            </a:r>
          </a:p>
          <a:p>
            <a:pPr marL="342900" marR="0" lvl="0" indent="-3429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менить фасовочные лотки и пластиковую тару, закупаемую торговыми предприятиями для собственной расфасовки товаров;</a:t>
            </a:r>
          </a:p>
          <a:p>
            <a:pPr marL="342900" marR="0" lvl="0" indent="-3429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имулировать производителей и поставщиков использовать для упаковки товаров </a:t>
            </a:r>
            <a:r>
              <a:rPr kumimoji="0" lang="ru-RU" alt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иоразлагаемую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упаковку.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75A8DBF-1456-4330-9417-8A23592747F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403190" y="4869160"/>
            <a:ext cx="2237426" cy="1585097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0CE6342-B1A5-4B8B-8838-A92DC147B637}"/>
              </a:ext>
            </a:extLst>
          </p:cNvPr>
          <p:cNvSpPr/>
          <p:nvPr/>
        </p:nvSpPr>
        <p:spPr>
          <a:xfrm>
            <a:off x="582124" y="5661708"/>
            <a:ext cx="8540352" cy="830997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мкость рынка одноразовой посуды в России составляет 290,9 млн. долл. в денежном выражении и 43 тыс. тонн в натуральном выражении.  На сегодняшний день российский рынок одноразовой посуды на 88% состоит из товаров, произведенных из пластика и 12% из бумаги. Аналитики отмечают, что рынок заполнен на 35% и он еще далек  от насыщения.</a:t>
            </a:r>
          </a:p>
        </p:txBody>
      </p:sp>
    </p:spTree>
    <p:extLst>
      <p:ext uri="{BB962C8B-B14F-4D97-AF65-F5344CB8AC3E}">
        <p14:creationId xmlns:p14="http://schemas.microsoft.com/office/powerpoint/2010/main" val="21948047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7" name="Rectangle 3"/>
          <p:cNvSpPr>
            <a:spLocks noChangeArrowheads="1"/>
          </p:cNvSpPr>
          <p:nvPr/>
        </p:nvSpPr>
        <p:spPr bwMode="auto">
          <a:xfrm>
            <a:off x="989107" y="785610"/>
            <a:ext cx="1044683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indent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Aft>
                <a:spcPts val="0"/>
              </a:spcAft>
            </a:pPr>
            <a:r>
              <a:rPr lang="ru-RU" sz="1600" b="1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Система совмещенных плантаций – быстрорастущих деревьев и технических агро-культур (</a:t>
            </a:r>
            <a:r>
              <a:rPr lang="ru-RU" sz="1600" b="1" cap="all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агро-</a:t>
            </a:r>
            <a:r>
              <a:rPr lang="ru-RU" sz="1600" b="1" cap="all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форестри</a:t>
            </a:r>
            <a:r>
              <a:rPr lang="ru-RU" sz="1600" b="1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)</a:t>
            </a:r>
          </a:p>
        </p:txBody>
      </p:sp>
      <p:grpSp>
        <p:nvGrpSpPr>
          <p:cNvPr id="9" name="Группа 5"/>
          <p:cNvGrpSpPr>
            <a:grpSpLocks/>
          </p:cNvGrpSpPr>
          <p:nvPr/>
        </p:nvGrpSpPr>
        <p:grpSpPr bwMode="auto">
          <a:xfrm>
            <a:off x="983433" y="223840"/>
            <a:ext cx="10441159" cy="461963"/>
            <a:chOff x="611561" y="159022"/>
            <a:chExt cx="8075239" cy="461666"/>
          </a:xfrm>
        </p:grpSpPr>
        <p:sp>
          <p:nvSpPr>
            <p:cNvPr id="10" name="TextBox 5"/>
            <p:cNvSpPr txBox="1">
              <a:spLocks noChangeArrowheads="1"/>
            </p:cNvSpPr>
            <p:nvPr/>
          </p:nvSpPr>
          <p:spPr bwMode="auto">
            <a:xfrm>
              <a:off x="615949" y="159172"/>
              <a:ext cx="8070851" cy="46136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eaLnBrk="1" hangingPunct="1">
                <a:defRPr/>
              </a:pPr>
              <a:r>
                <a:rPr lang="ru-RU" altLang="ru-RU" sz="2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	</a:t>
              </a:r>
              <a:r>
                <a:rPr lang="ru-RU" altLang="ru-RU" sz="2200" b="1" cap="all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агро-</a:t>
              </a:r>
              <a:r>
                <a:rPr lang="ru-RU" altLang="ru-RU" sz="2200" b="1" cap="all" dirty="0" err="1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форестри</a:t>
              </a:r>
              <a:r>
                <a:rPr lang="ru-RU" altLang="ru-RU" sz="2200" b="1" cap="all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 – </a:t>
              </a:r>
              <a:r>
                <a:rPr lang="ru-RU" altLang="ru-RU" sz="22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эффективное комплексное решение</a:t>
              </a:r>
            </a:p>
          </p:txBody>
        </p:sp>
        <p:pic>
          <p:nvPicPr>
            <p:cNvPr id="11" name="Picture 7" descr="\\andritz.com\Unit\PPF\Sales\_Projects\Croatia\Q-028274_Pan_Papir_Miscanthus_Trial_offer\06_Meetings_Presentations\florid1.jp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611561" y="159022"/>
              <a:ext cx="445530" cy="461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878257" y="3671733"/>
            <a:ext cx="10435485" cy="2631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indent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>
              <a:spcAft>
                <a:spcPts val="0"/>
              </a:spcAft>
            </a:pP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Применение междурядного размещения </a:t>
            </a:r>
            <a:r>
              <a:rPr lang="ru-RU" sz="15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лигно</a:t>
            </a: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-целлюлозных технических сельхозкультур и защитных полос быстрорастущих деревьев (например, посадки </a:t>
            </a:r>
            <a:r>
              <a:rPr lang="ru-RU" sz="15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Павловнии</a:t>
            </a: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 и </a:t>
            </a:r>
            <a:r>
              <a:rPr lang="ru-RU" sz="15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Мискантуса</a:t>
            </a: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) является идеальным решением для сырьевого обеспечения </a:t>
            </a:r>
            <a:r>
              <a:rPr lang="ru-RU" sz="15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целлюлозо</a:t>
            </a: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-бумажного, деревоперерабатывающего кластера, проектов развития отрасли и регионов. </a:t>
            </a:r>
          </a:p>
          <a:p>
            <a:pPr algn="just">
              <a:spcAft>
                <a:spcPts val="0"/>
              </a:spcAft>
            </a:pP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Такие плантации начинают давать отдачу уже на второй-третий год после закладки. </a:t>
            </a:r>
          </a:p>
          <a:p>
            <a:pPr algn="just">
              <a:spcAft>
                <a:spcPts val="0"/>
              </a:spcAft>
            </a:pP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Обеспечивается защита и сохранение сельскохозяйственных угодий от водной и ветровой эрозии и опустынивания за счет проведения </a:t>
            </a:r>
            <a:r>
              <a:rPr lang="ru-RU" sz="15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агролесомелиоративных</a:t>
            </a: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 и фитомелиоративных мероприятий.</a:t>
            </a:r>
          </a:p>
          <a:p>
            <a:pPr algn="just">
              <a:spcAft>
                <a:spcPts val="0"/>
              </a:spcAft>
            </a:pP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Появление и развитие плантаций ускоренного роста приводит к принципиальному изменению ситуации на  мировых рынках лесной и </a:t>
            </a:r>
            <a:r>
              <a:rPr lang="ru-RU" sz="15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целлюлозно</a:t>
            </a: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 - бумажной продукции.</a:t>
            </a:r>
          </a:p>
          <a:p>
            <a:pPr algn="just">
              <a:spcAft>
                <a:spcPts val="0"/>
              </a:spcAft>
            </a:pP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По данным ФАО ООН, занимая сегодня лишь пять процентов лесопокрытой площади мира, плантации уже  обеспечивают свыше 50% мирового  потребления древесины.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33AE234D-58F6-4A56-AB58-E4173C4BA0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7448" y="1473952"/>
            <a:ext cx="5154076" cy="2038921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D722595D-9AE0-467A-A971-AB546C8B64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53531" y="1473953"/>
            <a:ext cx="4775850" cy="2038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13250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7" name="Rectangle 3"/>
          <p:cNvSpPr>
            <a:spLocks noChangeArrowheads="1"/>
          </p:cNvSpPr>
          <p:nvPr/>
        </p:nvSpPr>
        <p:spPr bwMode="auto">
          <a:xfrm>
            <a:off x="977758" y="775966"/>
            <a:ext cx="10446834" cy="1246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indent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>
              <a:spcAft>
                <a:spcPts val="0"/>
              </a:spcAft>
            </a:pP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В последние годы мировыми учеными ведутся интенсивные исследования быстрорастущих пород деревьев для обеспечения первичным древесным сырьем лесной, деревообрабатывающей, </a:t>
            </a:r>
            <a:r>
              <a:rPr lang="ru-RU" sz="15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целлюлозно</a:t>
            </a: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 - бумажной промышленности.</a:t>
            </a:r>
          </a:p>
          <a:p>
            <a:pPr algn="just">
              <a:spcAft>
                <a:spcPts val="0"/>
              </a:spcAft>
            </a:pP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Наиболее перспективным видом сырья, за счет высоких </a:t>
            </a:r>
            <a:r>
              <a:rPr lang="ru-RU" sz="15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бумагообразующих</a:t>
            </a: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 свойств и достаточно быстрого роста, являются быстрорастущие деревья </a:t>
            </a:r>
            <a:r>
              <a:rPr lang="ru-RU" sz="15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Павловнии</a:t>
            </a: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 (</a:t>
            </a:r>
            <a:r>
              <a:rPr lang="ru-RU" sz="15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Paulownia</a:t>
            </a: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).</a:t>
            </a:r>
          </a:p>
        </p:txBody>
      </p:sp>
      <p:grpSp>
        <p:nvGrpSpPr>
          <p:cNvPr id="9" name="Группа 5"/>
          <p:cNvGrpSpPr>
            <a:grpSpLocks/>
          </p:cNvGrpSpPr>
          <p:nvPr/>
        </p:nvGrpSpPr>
        <p:grpSpPr bwMode="auto">
          <a:xfrm>
            <a:off x="983433" y="223840"/>
            <a:ext cx="10441159" cy="461963"/>
            <a:chOff x="611561" y="159022"/>
            <a:chExt cx="8075239" cy="461666"/>
          </a:xfrm>
        </p:grpSpPr>
        <p:sp>
          <p:nvSpPr>
            <p:cNvPr id="10" name="TextBox 5"/>
            <p:cNvSpPr txBox="1">
              <a:spLocks noChangeArrowheads="1"/>
            </p:cNvSpPr>
            <p:nvPr/>
          </p:nvSpPr>
          <p:spPr bwMode="auto">
            <a:xfrm>
              <a:off x="615949" y="159172"/>
              <a:ext cx="8070851" cy="46136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eaLnBrk="1" hangingPunct="1">
                <a:defRPr/>
              </a:pPr>
              <a:r>
                <a:rPr lang="ru-RU" altLang="ru-RU" sz="2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	</a:t>
              </a:r>
              <a:r>
                <a:rPr lang="ru-RU" altLang="ru-RU" sz="22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Потенциал плантаций быстрорастущих пород деревьев</a:t>
              </a:r>
            </a:p>
          </p:txBody>
        </p:sp>
        <p:pic>
          <p:nvPicPr>
            <p:cNvPr id="11" name="Picture 7" descr="\\andritz.com\Unit\PPF\Sales\_Projects\Croatia\Q-028274_Pan_Papir_Miscanthus_Trial_offer\06_Meetings_Presentations\florid1.jp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611561" y="159022"/>
              <a:ext cx="445530" cy="461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989107" y="4581128"/>
            <a:ext cx="10435485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indent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Aft>
                <a:spcPts val="0"/>
              </a:spcAft>
            </a:pP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Преимущества быстрорастущего дерева </a:t>
            </a:r>
            <a:r>
              <a:rPr lang="ru-RU" sz="15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Павловния</a:t>
            </a: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 (</a:t>
            </a:r>
            <a:r>
              <a:rPr lang="ru-RU" sz="15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Paulownia</a:t>
            </a: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) для производства целлюлозы:</a:t>
            </a:r>
          </a:p>
          <a:p>
            <a:pPr marL="342900" indent="-342900"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Древесина </a:t>
            </a:r>
            <a:r>
              <a:rPr lang="ru-RU" sz="15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Павловнии</a:t>
            </a: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 – быстро возобновляемое сырье, что дает  возможность  получения материалов за более короткий срок и по более низкой цене.</a:t>
            </a:r>
          </a:p>
          <a:p>
            <a:pPr marL="342900" indent="-342900"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Дерево </a:t>
            </a:r>
            <a:r>
              <a:rPr lang="ru-RU" sz="15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Павловния</a:t>
            </a: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 (</a:t>
            </a:r>
            <a:r>
              <a:rPr lang="ru-RU" sz="15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Paulownia</a:t>
            </a: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) неприхотливо и растет на малоплодородных почвах, не занимая необходимую для других сельскохозяйственных культур плодородную почву. Способно осваиваться на песчаных почвах.</a:t>
            </a:r>
          </a:p>
          <a:p>
            <a:pPr marL="342900" indent="-342900"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Ствол можно срубить в любое время года, независимо от сезона.</a:t>
            </a:r>
          </a:p>
          <a:p>
            <a:pPr marL="342900" indent="-342900"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Дерево </a:t>
            </a:r>
            <a:r>
              <a:rPr lang="ru-RU" sz="15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Павловния</a:t>
            </a: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 (</a:t>
            </a:r>
            <a:r>
              <a:rPr lang="ru-RU" sz="15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Paulownia</a:t>
            </a:r>
            <a:r>
              <a:rPr lang="ru-RU" sz="15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) самостоятельно регенерирует от корня. При целевой высадке для получения древесного сырья возможно минимум 7–8 циклов прорастания без необходимости повторной высадки. 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49360A63-CBFB-4C0B-8124-1509023241B7}"/>
              </a:ext>
            </a:extLst>
          </p:cNvPr>
          <p:cNvGrpSpPr/>
          <p:nvPr/>
        </p:nvGrpSpPr>
        <p:grpSpPr>
          <a:xfrm>
            <a:off x="977757" y="2079134"/>
            <a:ext cx="10446835" cy="2387826"/>
            <a:chOff x="977757" y="2079134"/>
            <a:chExt cx="10446835" cy="2387826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ACB54B1A-BE24-48E2-9CF5-5532B49949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320815" y="2079134"/>
              <a:ext cx="6103777" cy="2375151"/>
            </a:xfrm>
            <a:prstGeom prst="rect">
              <a:avLst/>
            </a:prstGeom>
          </p:spPr>
        </p:pic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7842CCC0-9FC7-420C-A03B-00A683EF01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4511"/>
            <a:stretch/>
          </p:blipFill>
          <p:spPr>
            <a:xfrm>
              <a:off x="977757" y="2079134"/>
              <a:ext cx="4322769" cy="23878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769668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7" name="Rectangle 3"/>
          <p:cNvSpPr>
            <a:spLocks noChangeArrowheads="1"/>
          </p:cNvSpPr>
          <p:nvPr/>
        </p:nvSpPr>
        <p:spPr bwMode="auto">
          <a:xfrm>
            <a:off x="983433" y="835259"/>
            <a:ext cx="10446834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indent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>
              <a:spcAft>
                <a:spcPts val="0"/>
              </a:spcAft>
            </a:pPr>
            <a:r>
              <a:rPr lang="ru-RU" sz="16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Самым главным преимуществом дерева </a:t>
            </a:r>
            <a:r>
              <a:rPr lang="ru-RU" sz="16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Павловния</a:t>
            </a:r>
            <a:r>
              <a:rPr lang="ru-RU" sz="16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 (</a:t>
            </a:r>
            <a:r>
              <a:rPr lang="ru-RU" sz="16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Paulownia</a:t>
            </a:r>
            <a:r>
              <a:rPr lang="ru-RU" sz="16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) является темпы его роста. </a:t>
            </a:r>
          </a:p>
          <a:p>
            <a:pPr algn="just">
              <a:spcAft>
                <a:spcPts val="0"/>
              </a:spcAft>
            </a:pPr>
            <a:r>
              <a:rPr lang="ru-RU" sz="16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Для примера, можно представить срез </a:t>
            </a:r>
            <a:r>
              <a:rPr lang="ru-RU" sz="16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Павловнии</a:t>
            </a:r>
            <a:r>
              <a:rPr lang="ru-RU" sz="16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 и Дуба – одинакового размера, </a:t>
            </a:r>
            <a:r>
              <a:rPr lang="ru-RU" sz="16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Павловнии</a:t>
            </a:r>
            <a:r>
              <a:rPr lang="ru-RU" sz="16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 и Ольхи. </a:t>
            </a:r>
          </a:p>
          <a:p>
            <a:pPr algn="just">
              <a:spcAft>
                <a:spcPts val="0"/>
              </a:spcAft>
            </a:pPr>
            <a:r>
              <a:rPr lang="ru-RU" sz="16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Разница действительно впечатляющая:</a:t>
            </a:r>
          </a:p>
        </p:txBody>
      </p:sp>
      <p:grpSp>
        <p:nvGrpSpPr>
          <p:cNvPr id="9" name="Группа 5"/>
          <p:cNvGrpSpPr>
            <a:grpSpLocks/>
          </p:cNvGrpSpPr>
          <p:nvPr/>
        </p:nvGrpSpPr>
        <p:grpSpPr bwMode="auto">
          <a:xfrm>
            <a:off x="983433" y="223840"/>
            <a:ext cx="10441159" cy="461963"/>
            <a:chOff x="611561" y="159022"/>
            <a:chExt cx="8075239" cy="461666"/>
          </a:xfrm>
        </p:grpSpPr>
        <p:sp>
          <p:nvSpPr>
            <p:cNvPr id="10" name="TextBox 5"/>
            <p:cNvSpPr txBox="1">
              <a:spLocks noChangeArrowheads="1"/>
            </p:cNvSpPr>
            <p:nvPr/>
          </p:nvSpPr>
          <p:spPr bwMode="auto">
            <a:xfrm>
              <a:off x="615949" y="159172"/>
              <a:ext cx="8070851" cy="46136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eaLnBrk="1" hangingPunct="1">
                <a:defRPr/>
              </a:pPr>
              <a:r>
                <a:rPr lang="ru-RU" altLang="ru-RU" sz="2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	</a:t>
              </a:r>
              <a:r>
                <a:rPr lang="ru-RU" altLang="ru-RU" sz="22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Преимущества плантаций быстрорастущих пород деревьев</a:t>
              </a:r>
            </a:p>
          </p:txBody>
        </p:sp>
        <p:pic>
          <p:nvPicPr>
            <p:cNvPr id="11" name="Picture 7" descr="\\andritz.com\Unit\PPF\Sales\_Projects\Croatia\Q-028274_Pan_Papir_Miscanthus_Trial_offer\06_Meetings_Presentations\florid1.jp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611561" y="159022"/>
              <a:ext cx="445530" cy="461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989107" y="4818128"/>
            <a:ext cx="10579501" cy="1815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indent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Aft>
                <a:spcPts val="0"/>
              </a:spcAft>
            </a:pPr>
            <a:r>
              <a:rPr lang="ru-RU" sz="14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Благодаря ускоренному росту и большим листьям в первый год развития, </a:t>
            </a:r>
            <a:r>
              <a:rPr lang="ru-RU" sz="14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Павловния</a:t>
            </a:r>
            <a:r>
              <a:rPr lang="ru-RU" sz="14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 (</a:t>
            </a:r>
            <a:r>
              <a:rPr lang="ru-RU" sz="14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Paulownia</a:t>
            </a:r>
            <a:r>
              <a:rPr lang="ru-RU" sz="14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) преобразует углекислый газ в кислород во много раз быстрее, чем любое другое дерево. Она формирует полноценные высокие деревья за короткий срок (2-3 года). </a:t>
            </a:r>
          </a:p>
          <a:p>
            <a:pPr>
              <a:spcAft>
                <a:spcPts val="0"/>
              </a:spcAft>
            </a:pPr>
            <a:r>
              <a:rPr lang="ru-RU" sz="14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Из-за более высокой урожайности, значительно меньшего количества лесосечных отходов стоимость сырья для заводов становится значительно ниже.</a:t>
            </a:r>
          </a:p>
          <a:p>
            <a:pPr>
              <a:spcAft>
                <a:spcPts val="0"/>
              </a:spcAft>
            </a:pPr>
            <a:r>
              <a:rPr lang="ru-RU" sz="14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Однородность породного состава, одинаковый возраст древесины и, как следствие, однородность свойств  технологической щепы позволят значительно снизить колебания качества готовой продукции (целлюлозы, ОСП, ДСП, МДФ, фанера) и облегчат точную настройку параметров технологического режима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6D4BFA5-25B4-4A5C-85CA-D349ABF3F1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7569" y="1700808"/>
            <a:ext cx="7344816" cy="3052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5207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Прямоугольник 2"/>
          <p:cNvSpPr>
            <a:spLocks noChangeArrowheads="1"/>
          </p:cNvSpPr>
          <p:nvPr/>
        </p:nvSpPr>
        <p:spPr bwMode="auto">
          <a:xfrm>
            <a:off x="1343472" y="5319520"/>
            <a:ext cx="4337414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indent="4572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indent="0" algn="just" eaLnBrk="1" hangingPunct="1">
              <a:spcBef>
                <a:spcPct val="0"/>
              </a:spcBef>
              <a:spcAft>
                <a:spcPts val="1200"/>
              </a:spcAft>
              <a:buNone/>
            </a:pPr>
            <a:r>
              <a:rPr lang="ru-RU" altLang="ru-RU" sz="13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меры волокон </a:t>
            </a:r>
            <a:r>
              <a:rPr lang="ru-RU" altLang="ru-RU" sz="13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вловнии</a:t>
            </a:r>
            <a:r>
              <a:rPr lang="ru-RU" altLang="ru-RU" sz="13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ru-RU" altLang="ru-RU" sz="13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aulownia</a:t>
            </a:r>
            <a:r>
              <a:rPr lang="ru-RU" altLang="ru-RU" sz="13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находятся в нормальном диапазоне для лиственных пород. </a:t>
            </a:r>
          </a:p>
        </p:txBody>
      </p:sp>
      <p:grpSp>
        <p:nvGrpSpPr>
          <p:cNvPr id="53252" name="Группа 5"/>
          <p:cNvGrpSpPr>
            <a:grpSpLocks/>
          </p:cNvGrpSpPr>
          <p:nvPr/>
        </p:nvGrpSpPr>
        <p:grpSpPr bwMode="auto">
          <a:xfrm>
            <a:off x="623393" y="174291"/>
            <a:ext cx="10945215" cy="430887"/>
            <a:chOff x="611561" y="174551"/>
            <a:chExt cx="8075239" cy="430611"/>
          </a:xfrm>
        </p:grpSpPr>
        <p:sp>
          <p:nvSpPr>
            <p:cNvPr id="7" name="TextBox 5"/>
            <p:cNvSpPr txBox="1">
              <a:spLocks noChangeArrowheads="1"/>
            </p:cNvSpPr>
            <p:nvPr/>
          </p:nvSpPr>
          <p:spPr bwMode="auto">
            <a:xfrm>
              <a:off x="615949" y="174551"/>
              <a:ext cx="8070851" cy="43061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eaLnBrk="1" hangingPunct="1">
                <a:defRPr/>
              </a:pPr>
              <a:r>
                <a:rPr lang="ru-RU" altLang="ru-RU" sz="22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	</a:t>
              </a:r>
              <a:r>
                <a:rPr lang="ru-RU" altLang="ru-RU" sz="22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Характеристика целлюлозы </a:t>
              </a:r>
              <a:r>
                <a:rPr lang="ru-RU" altLang="ru-RU" sz="2200" b="1" dirty="0" err="1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Павловнии</a:t>
              </a:r>
              <a:r>
                <a:rPr lang="ru-RU" altLang="ru-RU" sz="22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 (</a:t>
              </a:r>
              <a:r>
                <a:rPr lang="en-US" altLang="ru-RU" sz="22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Paulownia):</a:t>
              </a:r>
              <a:endParaRPr lang="ru-RU" altLang="ru-RU" sz="2200" b="1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8" name="Picture 7" descr="\\andritz.com\Unit\PPF\Sales\_Projects\Croatia\Q-028274_Pan_Papir_Miscanthus_Trial_offer\06_Meetings_Presentations\florid1.jp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611561" y="218129"/>
              <a:ext cx="371886" cy="3690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sp>
        <p:nvSpPr>
          <p:cNvPr id="12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146976" y="6163986"/>
            <a:ext cx="2133600" cy="36512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algn="r"/>
            <a:fld id="{386440AF-1E30-4736-B835-2366F65E602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algn="r"/>
              <a:t>1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4662384"/>
              </p:ext>
            </p:extLst>
          </p:nvPr>
        </p:nvGraphicFramePr>
        <p:xfrm>
          <a:off x="1355274" y="3408021"/>
          <a:ext cx="4524702" cy="18314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14857">
                  <a:extLst>
                    <a:ext uri="{9D8B030D-6E8A-4147-A177-3AD203B41FA5}">
                      <a16:colId xmlns:a16="http://schemas.microsoft.com/office/drawing/2014/main" val="303505759"/>
                    </a:ext>
                  </a:extLst>
                </a:gridCol>
                <a:gridCol w="909845">
                  <a:extLst>
                    <a:ext uri="{9D8B030D-6E8A-4147-A177-3AD203B41FA5}">
                      <a16:colId xmlns:a16="http://schemas.microsoft.com/office/drawing/2014/main" val="100750528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Морфологические свойства целлюлозы </a:t>
                      </a:r>
                      <a:r>
                        <a:rPr lang="ru-RU" sz="1200" dirty="0" err="1"/>
                        <a:t>Павловнии</a:t>
                      </a:r>
                      <a:endParaRPr lang="ru-RU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6257586"/>
                  </a:ext>
                </a:extLst>
              </a:tr>
              <a:tr h="290609">
                <a:tc>
                  <a:txBody>
                    <a:bodyPr/>
                    <a:lstStyle/>
                    <a:p>
                      <a:r>
                        <a:rPr lang="ru-RU" sz="1200" dirty="0"/>
                        <a:t>Среднее значение длины волокон мм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0,90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587132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r>
                        <a:rPr lang="ru-RU" sz="1200" dirty="0"/>
                        <a:t>Средняя ширина волокна мкм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34,5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355027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r>
                        <a:rPr lang="ru-RU" sz="1200" dirty="0"/>
                        <a:t>Толщина люмена мкм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3,8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9969408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r>
                        <a:rPr lang="ru-RU" sz="1200" dirty="0"/>
                        <a:t>Значение расчетного коэффициента </a:t>
                      </a:r>
                      <a:r>
                        <a:rPr lang="en-US" sz="1200" dirty="0" err="1"/>
                        <a:t>Runkel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0,3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607580"/>
                  </a:ext>
                </a:extLst>
              </a:tr>
              <a:tr h="305896">
                <a:tc>
                  <a:txBody>
                    <a:bodyPr/>
                    <a:lstStyle/>
                    <a:p>
                      <a:r>
                        <a:rPr lang="ru-RU" sz="1200" dirty="0"/>
                        <a:t>Коэффициент гибкости волокон </a:t>
                      </a:r>
                      <a:r>
                        <a:rPr lang="ru-RU" sz="1200" dirty="0" err="1"/>
                        <a:t>Павловнии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75,9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4124115"/>
                  </a:ext>
                </a:extLst>
              </a:tr>
            </a:tbl>
          </a:graphicData>
        </a:graphic>
      </p:graphicFrame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20711"/>
              </p:ext>
            </p:extLst>
          </p:nvPr>
        </p:nvGraphicFramePr>
        <p:xfrm>
          <a:off x="1343472" y="1387592"/>
          <a:ext cx="4536504" cy="16193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843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Характерист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Содержание,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717">
                <a:tc>
                  <a:txBody>
                    <a:bodyPr/>
                    <a:lstStyle/>
                    <a:p>
                      <a:r>
                        <a:rPr lang="ru-RU" sz="1200" dirty="0"/>
                        <a:t>Содержание </a:t>
                      </a:r>
                      <a:r>
                        <a:rPr lang="ru-RU" sz="1200" dirty="0" err="1"/>
                        <a:t>холоцеллюлозы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80,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r>
                        <a:rPr lang="ru-RU" sz="1200" dirty="0"/>
                        <a:t>Массовая </a:t>
                      </a:r>
                      <a:r>
                        <a:rPr lang="en-US" sz="1200" dirty="0"/>
                        <a:t>ɑ</a:t>
                      </a:r>
                      <a:r>
                        <a:rPr lang="ru-RU" sz="1200" dirty="0"/>
                        <a:t>-целлюлоз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5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r>
                        <a:rPr lang="ru-RU" sz="1200" dirty="0"/>
                        <a:t>Массовая доля лигнин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3,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ru-RU" sz="1200" dirty="0"/>
                        <a:t>Массовая доля экстрагируемых веществ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11,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0" name="Прямоугольник 19"/>
          <p:cNvSpPr/>
          <p:nvPr/>
        </p:nvSpPr>
        <p:spPr>
          <a:xfrm>
            <a:off x="1343473" y="971436"/>
            <a:ext cx="54005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+mn-lt"/>
              </a:rPr>
              <a:t>Химический состав </a:t>
            </a:r>
            <a:r>
              <a:rPr lang="ru-RU" dirty="0" err="1">
                <a:latin typeface="+mn-lt"/>
              </a:rPr>
              <a:t>Павловнии</a:t>
            </a:r>
            <a:r>
              <a:rPr lang="ru-RU" dirty="0">
                <a:latin typeface="+mn-lt"/>
              </a:rPr>
              <a:t> (</a:t>
            </a:r>
            <a:r>
              <a:rPr lang="en-US" dirty="0">
                <a:latin typeface="+mn-lt"/>
              </a:rPr>
              <a:t>Paulownia):</a:t>
            </a:r>
            <a:endParaRPr lang="ru-RU" dirty="0">
              <a:latin typeface="+mn-lt"/>
            </a:endParaRPr>
          </a:p>
        </p:txBody>
      </p:sp>
      <p:sp>
        <p:nvSpPr>
          <p:cNvPr id="21" name="Прямоугольник 2"/>
          <p:cNvSpPr>
            <a:spLocks noChangeArrowheads="1"/>
          </p:cNvSpPr>
          <p:nvPr/>
        </p:nvSpPr>
        <p:spPr bwMode="auto">
          <a:xfrm>
            <a:off x="6511116" y="1052736"/>
            <a:ext cx="4824536" cy="1815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 eaLnBrk="1" hangingPunct="1">
              <a:spcAft>
                <a:spcPts val="1200"/>
              </a:spcAft>
            </a:pPr>
            <a:r>
              <a:rPr lang="ru-RU" alt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ализ химических свойств показал, что волокна </a:t>
            </a:r>
            <a:r>
              <a:rPr lang="ru-RU" altLang="ru-RU" sz="16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вловнии</a:t>
            </a:r>
            <a:r>
              <a:rPr lang="ru-RU" alt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ru-RU" altLang="ru-RU" sz="16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aulownia</a:t>
            </a:r>
            <a:r>
              <a:rPr lang="ru-RU" alt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обладают рядом свойств, которые отвечают требованиям хорошего сырья для изготовления бумаги, так как относительно легко перерабатывается (разрушаются древесные волокна) во время варки целлюлозы, придавая большие прочностные свойства бумаге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02C26F7-45B5-4992-B7D7-26E89665D6A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676" r="12385" b="16472"/>
          <a:stretch/>
        </p:blipFill>
        <p:spPr>
          <a:xfrm>
            <a:off x="6511116" y="3200941"/>
            <a:ext cx="4824537" cy="2388299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34D0966-FD7C-491D-81AE-D78DFF6BBDDD}"/>
              </a:ext>
            </a:extLst>
          </p:cNvPr>
          <p:cNvSpPr/>
          <p:nvPr/>
        </p:nvSpPr>
        <p:spPr>
          <a:xfrm>
            <a:off x="767408" y="6075491"/>
            <a:ext cx="8540352" cy="49000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ревесина </a:t>
            </a:r>
            <a:r>
              <a:rPr kumimoji="0" lang="ru-RU" sz="1292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вловнии</a:t>
            </a:r>
            <a:r>
              <a:rPr kumimoji="0" lang="ru-RU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</a:t>
            </a:r>
            <a:r>
              <a:rPr kumimoji="0" lang="ru-RU" sz="1292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ulownia</a:t>
            </a:r>
            <a:r>
              <a:rPr kumimoji="0" lang="ru-RU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 имеет очень хорошие биометрические коэффициенты, что является важным преимуществом в бумажной промышленности</a:t>
            </a:r>
          </a:p>
        </p:txBody>
      </p:sp>
    </p:spTree>
    <p:extLst>
      <p:ext uri="{BB962C8B-B14F-4D97-AF65-F5344CB8AC3E}">
        <p14:creationId xmlns:p14="http://schemas.microsoft.com/office/powerpoint/2010/main" val="20558061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4007768" y="1078188"/>
            <a:ext cx="7555388" cy="465506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1352584" y="6237435"/>
            <a:ext cx="186722" cy="207205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11527">
              <a:spcBef>
                <a:spcPts val="91"/>
              </a:spcBef>
            </a:pPr>
            <a:r>
              <a:rPr sz="1271" spc="-5" dirty="0">
                <a:latin typeface="Calibri"/>
                <a:cs typeface="Calibri"/>
              </a:rPr>
              <a:t>5</a:t>
            </a:r>
            <a:r>
              <a:rPr sz="1271" dirty="0">
                <a:latin typeface="Calibri"/>
                <a:cs typeface="Calibri"/>
              </a:rPr>
              <a:t>8</a:t>
            </a:r>
          </a:p>
        </p:txBody>
      </p:sp>
      <p:pic>
        <p:nvPicPr>
          <p:cNvPr id="8" name="Picture 7" descr="\\andritz.com\Unit\PPF\Sales\_Projects\Croatia\Q-028274_Pan_Papir_Miscanthus_Trial_offer\06_Meetings_Presentations\florid1.jpg">
            <a:extLst>
              <a:ext uri="{FF2B5EF4-FFF2-40B4-BE49-F238E27FC236}">
                <a16:creationId xmlns:a16="http://schemas.microsoft.com/office/drawing/2014/main" id="{36CDE13F-E991-43AE-A14C-D3C1A7696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3393" y="217897"/>
            <a:ext cx="50405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63500"/>
          </a:effectLst>
          <a:scene3d>
            <a:camera prst="orthographicFront"/>
            <a:lightRig rig="threePt" dir="t"/>
          </a:scene3d>
          <a:sp3d>
            <a:bevelT/>
          </a:sp3d>
        </p:spPr>
      </p:pic>
      <p:grpSp>
        <p:nvGrpSpPr>
          <p:cNvPr id="9" name="Группа 5">
            <a:extLst>
              <a:ext uri="{FF2B5EF4-FFF2-40B4-BE49-F238E27FC236}">
                <a16:creationId xmlns:a16="http://schemas.microsoft.com/office/drawing/2014/main" id="{77693803-DCDB-4DE7-AD81-3726E56BE8AC}"/>
              </a:ext>
            </a:extLst>
          </p:cNvPr>
          <p:cNvGrpSpPr>
            <a:grpSpLocks/>
          </p:cNvGrpSpPr>
          <p:nvPr/>
        </p:nvGrpSpPr>
        <p:grpSpPr bwMode="auto">
          <a:xfrm>
            <a:off x="623393" y="174291"/>
            <a:ext cx="10945215" cy="430887"/>
            <a:chOff x="611561" y="174551"/>
            <a:chExt cx="8075239" cy="430611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311EC11-F881-48C6-81C3-7E7FAE2A6DF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5949" y="174551"/>
              <a:ext cx="8070851" cy="43061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eaLnBrk="1" hangingPunct="1">
                <a:defRPr/>
              </a:pPr>
              <a:r>
                <a:rPr lang="ru-RU" altLang="ru-RU" sz="22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	</a:t>
              </a:r>
              <a:r>
                <a:rPr lang="ru-RU" altLang="ru-RU" sz="22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Цикл превращения органических отходов целлюлозных заводов в сырьё</a:t>
              </a:r>
            </a:p>
          </p:txBody>
        </p:sp>
        <p:pic>
          <p:nvPicPr>
            <p:cNvPr id="11" name="Picture 7" descr="\\andritz.com\Unit\PPF\Sales\_Projects\Croatia\Q-028274_Pan_Papir_Miscanthus_Trial_offer\06_Meetings_Presentations\florid1.jpg">
              <a:extLst>
                <a:ext uri="{FF2B5EF4-FFF2-40B4-BE49-F238E27FC236}">
                  <a16:creationId xmlns:a16="http://schemas.microsoft.com/office/drawing/2014/main" id="{C09930D1-3D96-4935-B1FC-B262EDE69D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11561" y="218129"/>
              <a:ext cx="371886" cy="3690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sp>
        <p:nvSpPr>
          <p:cNvPr id="14" name="Прямоугольник 2">
            <a:extLst>
              <a:ext uri="{FF2B5EF4-FFF2-40B4-BE49-F238E27FC236}">
                <a16:creationId xmlns:a16="http://schemas.microsoft.com/office/drawing/2014/main" id="{C45D816E-AC3D-462B-89C2-3BA43606EC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0843" y="1124744"/>
            <a:ext cx="3180901" cy="4832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1" hangingPunct="1">
              <a:spcAft>
                <a:spcPts val="1200"/>
              </a:spcAft>
            </a:pPr>
            <a:r>
              <a:rPr lang="ru-RU" alt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ая проблема, порождаемая </a:t>
            </a:r>
            <a:r>
              <a:rPr lang="ru-RU" altLang="ru-RU" sz="16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люлозно</a:t>
            </a:r>
            <a:r>
              <a:rPr lang="ru-RU" alt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бумажной промышленностью – это загрязнение сточных вод. </a:t>
            </a:r>
          </a:p>
          <a:p>
            <a:pPr eaLnBrk="1" hangingPunct="1">
              <a:spcAft>
                <a:spcPts val="1200"/>
              </a:spcAft>
            </a:pPr>
            <a:r>
              <a:rPr lang="ru-RU" alt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ревья </a:t>
            </a:r>
            <a:r>
              <a:rPr lang="ru-RU" altLang="ru-RU" sz="16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вловнии</a:t>
            </a:r>
            <a:r>
              <a:rPr lang="ru-RU" alt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ru-RU" altLang="ru-RU" sz="16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aulownia</a:t>
            </a:r>
            <a:r>
              <a:rPr lang="ru-RU" alt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, высаженные в районе производства, используют в экологических целях и рассматривают как </a:t>
            </a:r>
            <a:r>
              <a:rPr lang="ru-RU" altLang="ru-RU" sz="16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торемедиатор</a:t>
            </a:r>
            <a:r>
              <a:rPr lang="ru-RU" alt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eaLnBrk="1" hangingPunct="1">
              <a:spcAft>
                <a:spcPts val="1200"/>
              </a:spcAft>
            </a:pPr>
            <a:r>
              <a:rPr lang="ru-RU" alt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тения способны собирать из почвы и воды промышленные загрязнители, пропускать их через свою сосудистую систему, задерживать их в себе, что помогает очищать и восстанавливать окружающую среду.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Rectangle 1"/>
          <p:cNvSpPr>
            <a:spLocks noChangeArrowheads="1"/>
          </p:cNvSpPr>
          <p:nvPr/>
        </p:nvSpPr>
        <p:spPr bwMode="auto">
          <a:xfrm>
            <a:off x="1752600" y="323850"/>
            <a:ext cx="8458200" cy="20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endParaRPr lang="ru-RU" altLang="ru-RU" sz="1800">
              <a:solidFill>
                <a:srgbClr val="000000"/>
              </a:solidFill>
              <a:latin typeface="Arial" panose="020B0604020202020204" pitchFamily="34" charset="0"/>
              <a:cs typeface="+mn-cs"/>
            </a:endParaRPr>
          </a:p>
          <a:p>
            <a:pPr algn="just" eaLnBrk="1" hangingPunct="1">
              <a:spcBef>
                <a:spcPct val="0"/>
              </a:spcBef>
              <a:buFontTx/>
              <a:buNone/>
            </a:pPr>
            <a:endParaRPr lang="ru-RU" altLang="ru-RU" sz="1800">
              <a:solidFill>
                <a:srgbClr val="000000"/>
              </a:solidFill>
              <a:latin typeface="Arial" panose="020B0604020202020204" pitchFamily="34" charset="0"/>
              <a:cs typeface="+mn-cs"/>
            </a:endParaRPr>
          </a:p>
          <a:p>
            <a:pPr algn="just" eaLnBrk="1" hangingPunct="1">
              <a:spcBef>
                <a:spcPct val="0"/>
              </a:spcBef>
              <a:buFontTx/>
              <a:buNone/>
            </a:pPr>
            <a:endParaRPr lang="ru-RU" altLang="ru-RU" sz="1800">
              <a:solidFill>
                <a:srgbClr val="000000"/>
              </a:solidFill>
              <a:latin typeface="Arial" panose="020B0604020202020204" pitchFamily="34" charset="0"/>
              <a:cs typeface="+mn-cs"/>
            </a:endParaRPr>
          </a:p>
          <a:p>
            <a:pPr algn="just" eaLnBrk="1" hangingPunct="1">
              <a:spcBef>
                <a:spcPct val="0"/>
              </a:spcBef>
              <a:buFontTx/>
              <a:buNone/>
            </a:pPr>
            <a:endParaRPr lang="ru-RU" altLang="ru-RU" sz="1800">
              <a:solidFill>
                <a:srgbClr val="000000"/>
              </a:solidFill>
              <a:latin typeface="Arial" panose="020B0604020202020204" pitchFamily="34" charset="0"/>
              <a:cs typeface="+mn-cs"/>
            </a:endParaRPr>
          </a:p>
          <a:p>
            <a:pPr algn="just" eaLnBrk="1" hangingPunct="1">
              <a:spcBef>
                <a:spcPct val="0"/>
              </a:spcBef>
              <a:buFontTx/>
              <a:buNone/>
            </a:pPr>
            <a:endParaRPr lang="ru-RU" altLang="ru-RU" sz="1800">
              <a:solidFill>
                <a:srgbClr val="000000"/>
              </a:solidFill>
              <a:latin typeface="Arial" panose="020B0604020202020204" pitchFamily="34" charset="0"/>
              <a:cs typeface="+mn-cs"/>
            </a:endParaRPr>
          </a:p>
          <a:p>
            <a:pPr algn="just" eaLnBrk="1" hangingPunct="1">
              <a:spcBef>
                <a:spcPct val="0"/>
              </a:spcBef>
              <a:buFontTx/>
              <a:buNone/>
            </a:pPr>
            <a:endParaRPr lang="ru-RU" altLang="ru-RU" sz="1800">
              <a:solidFill>
                <a:srgbClr val="000000"/>
              </a:solidFill>
              <a:latin typeface="Arial" panose="020B0604020202020204" pitchFamily="34" charset="0"/>
              <a:cs typeface="+mn-cs"/>
            </a:endParaRPr>
          </a:p>
          <a:p>
            <a:pPr algn="just" eaLnBrk="1" hangingPunct="1">
              <a:spcBef>
                <a:spcPct val="0"/>
              </a:spcBef>
              <a:buFontTx/>
              <a:buNone/>
            </a:pPr>
            <a:endParaRPr lang="ru-RU" altLang="ru-RU" sz="1800">
              <a:solidFill>
                <a:srgbClr val="000000"/>
              </a:solidFill>
              <a:latin typeface="Arial" panose="020B0604020202020204" pitchFamily="34" charset="0"/>
              <a:cs typeface="+mn-cs"/>
            </a:endParaRPr>
          </a:p>
        </p:txBody>
      </p:sp>
      <p:sp>
        <p:nvSpPr>
          <p:cNvPr id="79877" name="Rectangle 3"/>
          <p:cNvSpPr>
            <a:spLocks noChangeArrowheads="1"/>
          </p:cNvSpPr>
          <p:nvPr/>
        </p:nvSpPr>
        <p:spPr bwMode="auto">
          <a:xfrm>
            <a:off x="4479978" y="897505"/>
            <a:ext cx="7009037" cy="1246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indent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>
              <a:spcAft>
                <a:spcPts val="600"/>
              </a:spcAft>
            </a:pPr>
            <a:r>
              <a:rPr lang="ru-RU" sz="14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Среди перспективных источников целлюлозы — </a:t>
            </a:r>
            <a:r>
              <a:rPr lang="ru-RU" sz="1400" b="1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Miscanthus</a:t>
            </a:r>
            <a:r>
              <a:rPr lang="ru-RU" sz="1400" b="1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 </a:t>
            </a:r>
            <a:r>
              <a:rPr lang="ru-RU" sz="14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многолетнее травянистое растение, которое хорошо адаптируется к климатическим условиям большинства регионов России. </a:t>
            </a:r>
          </a:p>
          <a:p>
            <a:pPr algn="just">
              <a:spcAft>
                <a:spcPts val="600"/>
              </a:spcAft>
            </a:pPr>
            <a:r>
              <a:rPr lang="ru-RU" sz="14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Урожайность сухой биомассы в климатических условиях Центральной России </a:t>
            </a:r>
            <a:r>
              <a:rPr lang="ru-RU" sz="1400" b="1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15 тонн на 1 Га</a:t>
            </a:r>
            <a:r>
              <a:rPr lang="ru-RU" sz="14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. </a:t>
            </a:r>
          </a:p>
        </p:txBody>
      </p:sp>
      <p:grpSp>
        <p:nvGrpSpPr>
          <p:cNvPr id="9" name="Группа 5"/>
          <p:cNvGrpSpPr>
            <a:grpSpLocks/>
          </p:cNvGrpSpPr>
          <p:nvPr/>
        </p:nvGrpSpPr>
        <p:grpSpPr bwMode="auto">
          <a:xfrm>
            <a:off x="983433" y="223840"/>
            <a:ext cx="10441159" cy="461963"/>
            <a:chOff x="611561" y="159022"/>
            <a:chExt cx="8075239" cy="461666"/>
          </a:xfrm>
        </p:grpSpPr>
        <p:sp>
          <p:nvSpPr>
            <p:cNvPr id="10" name="TextBox 5"/>
            <p:cNvSpPr txBox="1">
              <a:spLocks noChangeArrowheads="1"/>
            </p:cNvSpPr>
            <p:nvPr/>
          </p:nvSpPr>
          <p:spPr bwMode="auto">
            <a:xfrm>
              <a:off x="615949" y="159172"/>
              <a:ext cx="8070851" cy="46136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eaLnBrk="1" hangingPunct="1">
                <a:defRPr/>
              </a:pPr>
              <a:r>
                <a:rPr lang="ru-RU" altLang="ru-RU" sz="2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	</a:t>
              </a:r>
              <a:r>
                <a:rPr lang="ru-RU" altLang="ru-RU" sz="22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Альтернативное сельскохозяйственное сырье - </a:t>
              </a:r>
              <a:r>
                <a:rPr lang="ru-RU" altLang="ru-RU" sz="2200" b="1" dirty="0" err="1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Мискантус</a:t>
              </a:r>
              <a:endParaRPr lang="ru-RU" altLang="ru-RU" sz="2200" b="1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11" name="Picture 7" descr="\\andritz.com\Unit\PPF\Sales\_Projects\Croatia\Q-028274_Pan_Papir_Miscanthus_Trial_offer\06_Meetings_Presentations\florid1.jp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611561" y="159022"/>
              <a:ext cx="445530" cy="461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sp>
        <p:nvSpPr>
          <p:cNvPr id="2" name="Прямоугольник 1"/>
          <p:cNvSpPr/>
          <p:nvPr/>
        </p:nvSpPr>
        <p:spPr>
          <a:xfrm>
            <a:off x="6590692" y="2302710"/>
            <a:ext cx="46178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Накопление биомассы на 1 Га при производстве </a:t>
            </a:r>
            <a:r>
              <a:rPr lang="ru-RU" sz="1200" b="1" dirty="0" err="1"/>
              <a:t>мискантуса</a:t>
            </a:r>
            <a:r>
              <a:rPr lang="ru-RU" sz="1200" b="1" dirty="0"/>
              <a:t> в сравнении с основными древесными породами I а бонитета (тонн/Га):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6569698" y="3027002"/>
          <a:ext cx="4617875" cy="313830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07748">
                  <a:extLst>
                    <a:ext uri="{9D8B030D-6E8A-4147-A177-3AD203B41FA5}">
                      <a16:colId xmlns:a16="http://schemas.microsoft.com/office/drawing/2014/main" val="3344359236"/>
                    </a:ext>
                  </a:extLst>
                </a:gridCol>
                <a:gridCol w="1255325">
                  <a:extLst>
                    <a:ext uri="{9D8B030D-6E8A-4147-A177-3AD203B41FA5}">
                      <a16:colId xmlns:a16="http://schemas.microsoft.com/office/drawing/2014/main" val="635807527"/>
                    </a:ext>
                  </a:extLst>
                </a:gridCol>
                <a:gridCol w="765808">
                  <a:extLst>
                    <a:ext uri="{9D8B030D-6E8A-4147-A177-3AD203B41FA5}">
                      <a16:colId xmlns:a16="http://schemas.microsoft.com/office/drawing/2014/main" val="958308090"/>
                    </a:ext>
                  </a:extLst>
                </a:gridCol>
                <a:gridCol w="975028">
                  <a:extLst>
                    <a:ext uri="{9D8B030D-6E8A-4147-A177-3AD203B41FA5}">
                      <a16:colId xmlns:a16="http://schemas.microsoft.com/office/drawing/2014/main" val="1977740772"/>
                    </a:ext>
                  </a:extLst>
                </a:gridCol>
                <a:gridCol w="913966">
                  <a:extLst>
                    <a:ext uri="{9D8B030D-6E8A-4147-A177-3AD203B41FA5}">
                      <a16:colId xmlns:a16="http://schemas.microsoft.com/office/drawing/2014/main" val="1839458896"/>
                    </a:ext>
                  </a:extLst>
                </a:gridCol>
              </a:tblGrid>
              <a:tr h="26642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Год</a:t>
                      </a:r>
                      <a:endParaRPr lang="ru-RU" sz="16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 err="1">
                          <a:effectLst/>
                        </a:rPr>
                        <a:t>Мискантус</a:t>
                      </a:r>
                      <a:r>
                        <a:rPr lang="ru-RU" sz="1600" dirty="0">
                          <a:effectLst/>
                        </a:rPr>
                        <a:t> </a:t>
                      </a:r>
                      <a:endParaRPr lang="ru-RU" sz="16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Сосна  </a:t>
                      </a:r>
                      <a:endParaRPr lang="ru-RU" sz="16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Береза </a:t>
                      </a:r>
                      <a:endParaRPr lang="ru-RU" sz="16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Осина </a:t>
                      </a:r>
                      <a:endParaRPr lang="ru-RU" sz="16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5588772"/>
                  </a:ext>
                </a:extLst>
              </a:tr>
              <a:tr h="261080"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5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35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-</a:t>
                      </a:r>
                      <a:endParaRPr lang="ru-RU" sz="140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-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-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781810323"/>
                  </a:ext>
                </a:extLst>
              </a:tr>
              <a:tr h="261080"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0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85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-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5</a:t>
                      </a:r>
                      <a:endParaRPr lang="ru-RU" sz="140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5</a:t>
                      </a:r>
                      <a:endParaRPr lang="ru-RU" sz="140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39891358"/>
                  </a:ext>
                </a:extLst>
              </a:tr>
              <a:tr h="261080"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0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85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56</a:t>
                      </a:r>
                      <a:endParaRPr lang="ru-RU" sz="140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68</a:t>
                      </a:r>
                      <a:endParaRPr lang="ru-RU" sz="140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54</a:t>
                      </a:r>
                      <a:endParaRPr lang="ru-RU" sz="140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886533889"/>
                  </a:ext>
                </a:extLst>
              </a:tr>
              <a:tr h="261080"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30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70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12</a:t>
                      </a:r>
                      <a:endParaRPr lang="ru-RU" sz="140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12</a:t>
                      </a:r>
                      <a:endParaRPr lang="ru-RU" sz="140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84</a:t>
                      </a:r>
                      <a:endParaRPr lang="ru-RU" sz="140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34564171"/>
                  </a:ext>
                </a:extLst>
              </a:tr>
              <a:tr h="261080"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40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370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70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52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16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893301448"/>
                  </a:ext>
                </a:extLst>
              </a:tr>
              <a:tr h="261080"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50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455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24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87</a:t>
                      </a:r>
                      <a:endParaRPr lang="ru-RU" sz="140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48</a:t>
                      </a:r>
                      <a:endParaRPr lang="ru-RU" sz="140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6708674"/>
                  </a:ext>
                </a:extLst>
              </a:tr>
              <a:tr h="261080"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60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555</a:t>
                      </a:r>
                      <a:endParaRPr lang="ru-RU" sz="140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69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15</a:t>
                      </a:r>
                      <a:endParaRPr lang="ru-RU" sz="140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75</a:t>
                      </a:r>
                      <a:endParaRPr lang="ru-RU" sz="140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148278871"/>
                  </a:ext>
                </a:extLst>
              </a:tr>
              <a:tr h="261080"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70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640</a:t>
                      </a:r>
                      <a:endParaRPr lang="ru-RU" sz="140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308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39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96</a:t>
                      </a:r>
                      <a:endParaRPr lang="ru-RU" sz="140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735272139"/>
                  </a:ext>
                </a:extLst>
              </a:tr>
              <a:tr h="261080"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80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740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340</a:t>
                      </a:r>
                      <a:endParaRPr lang="ru-RU" sz="140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59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12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466098732"/>
                  </a:ext>
                </a:extLst>
              </a:tr>
              <a:tr h="261080"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90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825</a:t>
                      </a:r>
                      <a:endParaRPr lang="ru-RU" sz="140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368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75</a:t>
                      </a:r>
                      <a:endParaRPr lang="ru-RU" sz="140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23</a:t>
                      </a:r>
                      <a:endParaRPr lang="ru-RU" sz="1400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67492028"/>
                  </a:ext>
                </a:extLst>
              </a:tr>
              <a:tr h="261080"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100</a:t>
                      </a:r>
                      <a:endParaRPr lang="ru-RU" sz="1400" b="1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925</a:t>
                      </a:r>
                      <a:endParaRPr lang="ru-RU" sz="1400" b="1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392</a:t>
                      </a:r>
                      <a:endParaRPr lang="ru-RU" sz="1400" b="1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287</a:t>
                      </a:r>
                      <a:endParaRPr lang="ru-RU" sz="1400" b="1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2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229</a:t>
                      </a:r>
                      <a:endParaRPr lang="ru-RU" sz="1400" b="1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669589541"/>
                  </a:ext>
                </a:extLst>
              </a:tr>
            </a:tbl>
          </a:graphicData>
        </a:graphic>
      </p:graphicFrame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983433" y="3056761"/>
            <a:ext cx="5400598" cy="3108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indent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Aft>
                <a:spcPts val="0"/>
              </a:spcAft>
            </a:pPr>
            <a:r>
              <a:rPr lang="ru-RU" sz="14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Выращивание </a:t>
            </a:r>
            <a:r>
              <a:rPr lang="ru-RU" sz="1400" dirty="0" err="1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Miscanthus</a:t>
            </a:r>
            <a:r>
              <a:rPr lang="ru-RU" sz="14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 имеет свои преимущества, такие как:</a:t>
            </a:r>
          </a:p>
          <a:p>
            <a:pPr marL="342900" indent="-342900"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ru-RU" sz="14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Использование скудных сельскохозяйственных и практически не применимых для выращивания других культур почв;</a:t>
            </a:r>
          </a:p>
          <a:p>
            <a:pPr marL="342900" indent="-342900"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ru-RU" sz="14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Не распространяется за пределы плантации, семенами не размножается;</a:t>
            </a:r>
          </a:p>
          <a:p>
            <a:pPr marL="342900" indent="-342900"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ru-RU" sz="14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Способствует предотвращению эрозии и улучшению структуры почв;</a:t>
            </a:r>
          </a:p>
          <a:p>
            <a:pPr marL="342900" indent="-342900"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ru-RU" sz="14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Характеризуется повышенным поглощением углекислого газа из атмосферы;</a:t>
            </a:r>
          </a:p>
          <a:p>
            <a:pPr marL="342900" indent="-342900"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ru-RU" sz="1400" dirty="0">
                <a:solidFill>
                  <a:srgbClr val="262626"/>
                </a:solidFill>
                <a:ea typeface="MS Mincho"/>
                <a:cs typeface="Times New Roman" panose="02020603050405020304" pitchFamily="18" charset="0"/>
              </a:rPr>
              <a:t>Имеет высокое содержание целлюлозы и может успешно перерабатываться с высоким выходом на картон и бумажную массу. 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52A94061-39B2-4177-B6F6-F57CE5141D0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700"/>
          <a:stretch/>
        </p:blipFill>
        <p:spPr>
          <a:xfrm>
            <a:off x="1055440" y="964913"/>
            <a:ext cx="3235544" cy="1875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3781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Прямоугольник 2"/>
          <p:cNvSpPr>
            <a:spLocks noChangeArrowheads="1"/>
          </p:cNvSpPr>
          <p:nvPr/>
        </p:nvSpPr>
        <p:spPr bwMode="auto">
          <a:xfrm>
            <a:off x="1343472" y="5755354"/>
            <a:ext cx="4337414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indent="4572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indent="0" algn="just" eaLnBrk="1" hangingPunct="1">
              <a:spcBef>
                <a:spcPct val="0"/>
              </a:spcBef>
              <a:spcAft>
                <a:spcPts val="1200"/>
              </a:spcAft>
              <a:buNone/>
            </a:pPr>
            <a:r>
              <a:rPr lang="ru-RU" altLang="ru-RU" sz="13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епень полимеризации беленой целлюлозы </a:t>
            </a:r>
            <a:r>
              <a:rPr lang="ru-RU" altLang="ru-RU" sz="13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скантуса</a:t>
            </a:r>
            <a:r>
              <a:rPr lang="ru-RU" altLang="ru-RU" sz="13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авна 900-950. </a:t>
            </a:r>
          </a:p>
        </p:txBody>
      </p:sp>
      <p:grpSp>
        <p:nvGrpSpPr>
          <p:cNvPr id="53252" name="Группа 5"/>
          <p:cNvGrpSpPr>
            <a:grpSpLocks/>
          </p:cNvGrpSpPr>
          <p:nvPr/>
        </p:nvGrpSpPr>
        <p:grpSpPr bwMode="auto">
          <a:xfrm>
            <a:off x="623393" y="174291"/>
            <a:ext cx="10945215" cy="430887"/>
            <a:chOff x="611561" y="174551"/>
            <a:chExt cx="8075239" cy="430611"/>
          </a:xfrm>
        </p:grpSpPr>
        <p:sp>
          <p:nvSpPr>
            <p:cNvPr id="7" name="TextBox 5"/>
            <p:cNvSpPr txBox="1">
              <a:spLocks noChangeArrowheads="1"/>
            </p:cNvSpPr>
            <p:nvPr/>
          </p:nvSpPr>
          <p:spPr bwMode="auto">
            <a:xfrm>
              <a:off x="615949" y="174551"/>
              <a:ext cx="8070851" cy="43061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eaLnBrk="1" hangingPunct="1">
                <a:defRPr/>
              </a:pPr>
              <a:r>
                <a:rPr lang="ru-RU" altLang="ru-RU" sz="22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	</a:t>
              </a:r>
              <a:r>
                <a:rPr lang="ru-RU" altLang="ru-RU" sz="22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Характеристика целлюлозы </a:t>
              </a:r>
              <a:r>
                <a:rPr lang="ru-RU" altLang="ru-RU" sz="2200" b="1" dirty="0" err="1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Мискантуса</a:t>
              </a:r>
              <a:r>
                <a:rPr lang="ru-RU" altLang="ru-RU" sz="22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 и целевые полуфабрикаты</a:t>
              </a:r>
            </a:p>
          </p:txBody>
        </p:sp>
        <p:pic>
          <p:nvPicPr>
            <p:cNvPr id="8" name="Picture 7" descr="\\andritz.com\Unit\PPF\Sales\_Projects\Croatia\Q-028274_Pan_Papir_Miscanthus_Trial_offer\06_Meetings_Presentations\florid1.jp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611561" y="218129"/>
              <a:ext cx="371886" cy="3690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sp>
        <p:nvSpPr>
          <p:cNvPr id="4" name="Прямоугольник 3"/>
          <p:cNvSpPr/>
          <p:nvPr/>
        </p:nvSpPr>
        <p:spPr>
          <a:xfrm>
            <a:off x="7464151" y="3153455"/>
            <a:ext cx="363096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тография беленой целлюлозы </a:t>
            </a:r>
            <a:r>
              <a:rPr lang="ru-RU" sz="11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скантуса</a:t>
            </a:r>
            <a:endParaRPr 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720175" y="6069367"/>
            <a:ext cx="554461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тография растровой электронной микроскопии беленой целлюлозы </a:t>
            </a:r>
            <a:r>
              <a:rPr lang="ru-RU" sz="11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скантуса</a:t>
            </a:r>
            <a:endParaRPr 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146976" y="6163986"/>
            <a:ext cx="2133600" cy="36512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algn="r"/>
            <a:fld id="{386440AF-1E30-4736-B835-2366F65E602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algn="r"/>
              <a:t>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868"/>
          <a:stretch/>
        </p:blipFill>
        <p:spPr>
          <a:xfrm>
            <a:off x="5972201" y="3691434"/>
            <a:ext cx="2480992" cy="2381532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855"/>
          <a:stretch/>
        </p:blipFill>
        <p:spPr>
          <a:xfrm>
            <a:off x="8492482" y="3693103"/>
            <a:ext cx="2602632" cy="2376264"/>
          </a:xfrm>
          <a:prstGeom prst="rect">
            <a:avLst/>
          </a:prstGeom>
        </p:spPr>
      </p:pic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2587231"/>
              </p:ext>
            </p:extLst>
          </p:nvPr>
        </p:nvGraphicFramePr>
        <p:xfrm>
          <a:off x="1361542" y="3685791"/>
          <a:ext cx="4358633" cy="18314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82182">
                  <a:extLst>
                    <a:ext uri="{9D8B030D-6E8A-4147-A177-3AD203B41FA5}">
                      <a16:colId xmlns:a16="http://schemas.microsoft.com/office/drawing/2014/main" val="303505759"/>
                    </a:ext>
                  </a:extLst>
                </a:gridCol>
                <a:gridCol w="876451">
                  <a:extLst>
                    <a:ext uri="{9D8B030D-6E8A-4147-A177-3AD203B41FA5}">
                      <a16:colId xmlns:a16="http://schemas.microsoft.com/office/drawing/2014/main" val="100750528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Выход продукта из </a:t>
                      </a:r>
                      <a:r>
                        <a:rPr lang="ru-RU" sz="1200" dirty="0" err="1"/>
                        <a:t>Мискантуса</a:t>
                      </a:r>
                      <a:endParaRPr lang="ru-RU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6257586"/>
                  </a:ext>
                </a:extLst>
              </a:tr>
              <a:tr h="290609">
                <a:tc>
                  <a:txBody>
                    <a:bodyPr/>
                    <a:lstStyle/>
                    <a:p>
                      <a:r>
                        <a:rPr lang="ru-RU" sz="1200" dirty="0"/>
                        <a:t>ХТМ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9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587132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r>
                        <a:rPr lang="ru-RU" sz="1200" dirty="0"/>
                        <a:t>БХТМ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8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355027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r>
                        <a:rPr lang="ru-RU" sz="1200" dirty="0"/>
                        <a:t>Небеленая  целлюлоза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5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9969408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r>
                        <a:rPr lang="ru-RU" sz="1200" dirty="0"/>
                        <a:t>Беленая целлюлоза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4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607580"/>
                  </a:ext>
                </a:extLst>
              </a:tr>
              <a:tr h="305896">
                <a:tc>
                  <a:txBody>
                    <a:bodyPr/>
                    <a:lstStyle/>
                    <a:p>
                      <a:r>
                        <a:rPr lang="ru-RU" sz="1200" dirty="0"/>
                        <a:t>Растворимая (вискозная) целлюлоза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3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4124115"/>
                  </a:ext>
                </a:extLst>
              </a:tr>
            </a:tbl>
          </a:graphicData>
        </a:graphic>
      </p:graphicFrame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4643384"/>
              </p:ext>
            </p:extLst>
          </p:nvPr>
        </p:nvGraphicFramePr>
        <p:xfrm>
          <a:off x="1343472" y="1241386"/>
          <a:ext cx="5256584" cy="15329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594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971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Характерист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Содержание,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717">
                <a:tc>
                  <a:txBody>
                    <a:bodyPr/>
                    <a:lstStyle/>
                    <a:p>
                      <a:r>
                        <a:rPr lang="ru-RU" sz="1200" dirty="0"/>
                        <a:t>Массовая доля целлюлозы по </a:t>
                      </a:r>
                      <a:r>
                        <a:rPr lang="ru-RU" sz="1200" dirty="0" err="1"/>
                        <a:t>Кюршнеру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57,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r>
                        <a:rPr lang="ru-RU" sz="1200" dirty="0"/>
                        <a:t>Массовая доля лигнин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19,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r>
                        <a:rPr lang="ru-RU" sz="1200" dirty="0"/>
                        <a:t>Массовая доля зол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3,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ru-RU" sz="1200" dirty="0"/>
                        <a:t>Массовая доля </a:t>
                      </a:r>
                      <a:r>
                        <a:rPr lang="ru-RU" sz="1200" dirty="0" err="1"/>
                        <a:t>пентозанов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3,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0" name="Прямоугольник 19"/>
          <p:cNvSpPr/>
          <p:nvPr/>
        </p:nvSpPr>
        <p:spPr>
          <a:xfrm>
            <a:off x="1343473" y="876837"/>
            <a:ext cx="43149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+mn-lt"/>
              </a:rPr>
              <a:t>Химический состав соломы </a:t>
            </a:r>
            <a:r>
              <a:rPr lang="ru-RU" dirty="0" err="1">
                <a:latin typeface="+mn-lt"/>
              </a:rPr>
              <a:t>Мискантуса</a:t>
            </a:r>
            <a:endParaRPr lang="ru-RU" dirty="0">
              <a:latin typeface="+mn-lt"/>
            </a:endParaRPr>
          </a:p>
        </p:txBody>
      </p:sp>
      <p:sp>
        <p:nvSpPr>
          <p:cNvPr id="21" name="Прямоугольник 2"/>
          <p:cNvSpPr>
            <a:spLocks noChangeArrowheads="1"/>
          </p:cNvSpPr>
          <p:nvPr/>
        </p:nvSpPr>
        <p:spPr bwMode="auto">
          <a:xfrm>
            <a:off x="1271464" y="2900367"/>
            <a:ext cx="5328592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 eaLnBrk="1" hangingPunct="1">
              <a:spcAft>
                <a:spcPts val="1200"/>
              </a:spcAft>
            </a:pPr>
            <a:r>
              <a:rPr lang="ru-RU" altLang="ru-RU" sz="13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личина удельной поверхности целлюлозы </a:t>
            </a:r>
            <a:r>
              <a:rPr lang="ru-RU" altLang="ru-RU" sz="13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скантуса</a:t>
            </a:r>
            <a:r>
              <a:rPr lang="ru-RU" altLang="ru-RU" sz="13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оставляет 1,8-2,1 м</a:t>
            </a:r>
            <a:r>
              <a:rPr lang="ru-RU" altLang="ru-RU" sz="1300" baseline="30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altLang="ru-RU" sz="13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г, что сопоставимо с величиной удельной поверхности целлюлозы древесины (0,6-2,2 м</a:t>
            </a:r>
            <a:r>
              <a:rPr lang="ru-RU" altLang="ru-RU" sz="1300" baseline="30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altLang="ru-RU" sz="13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г)</a:t>
            </a:r>
          </a:p>
        </p:txBody>
      </p:sp>
      <p:pic>
        <p:nvPicPr>
          <p:cNvPr id="6" name="Рисунок 5" descr="Изображение выглядит как конверт, канцелярские товары&#10;&#10;Описание создано автоматически">
            <a:extLst>
              <a:ext uri="{FF2B5EF4-FFF2-40B4-BE49-F238E27FC236}">
                <a16:creationId xmlns:a16="http://schemas.microsoft.com/office/drawing/2014/main" id="{02D4A109-9ABD-483E-9DCB-DC73E36A6CF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5000" contras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37" t="2315" r="3141" b="5900"/>
          <a:stretch/>
        </p:blipFill>
        <p:spPr>
          <a:xfrm>
            <a:off x="7464152" y="1093744"/>
            <a:ext cx="3630962" cy="2089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7501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1233630" y="843677"/>
            <a:ext cx="4264792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Использование волокна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Топливные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пеллеты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Подстилки для животных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Легкие ДВП / МДФ плиты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«Зеленый» бетон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Картон / бумага / целлюлоза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Био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-композиты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Эфиры целлюлозы, клеи, лаки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Наноцеллюлоза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BAE8CDA0-F985-4E6B-946B-BFC7896AC9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4778" y="3622573"/>
            <a:ext cx="2337646" cy="1496093"/>
          </a:xfrm>
          <a:prstGeom prst="rect">
            <a:avLst/>
          </a:prstGeom>
          <a:effectLst>
            <a:softEdge rad="25400"/>
          </a:effectLst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7888E63-5DFC-45BC-9B0D-483F26BD5B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1" y="5126073"/>
            <a:ext cx="1496093" cy="1496093"/>
          </a:xfrm>
          <a:prstGeom prst="rect">
            <a:avLst/>
          </a:prstGeom>
          <a:effectLst>
            <a:softEdge rad="25400"/>
          </a:effectLst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60BBB8D-60BB-4A2D-975F-AA63926C87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9737" y="5106535"/>
            <a:ext cx="2370176" cy="1516913"/>
          </a:xfrm>
          <a:prstGeom prst="rect">
            <a:avLst/>
          </a:prstGeom>
          <a:effectLst>
            <a:softEdge rad="25400"/>
          </a:effectLst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E89DEFD4-C807-43AC-A377-AEDBDA73603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0015" y="3622574"/>
            <a:ext cx="2046145" cy="1474664"/>
          </a:xfrm>
          <a:prstGeom prst="rect">
            <a:avLst/>
          </a:prstGeom>
          <a:effectLst>
            <a:softEdge rad="25400"/>
          </a:effectLst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4A50ACB2-C155-4D36-9E74-AED69502A71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6884"/>
          <a:stretch/>
        </p:blipFill>
        <p:spPr>
          <a:xfrm>
            <a:off x="983432" y="3622573"/>
            <a:ext cx="1872109" cy="1477107"/>
          </a:xfrm>
          <a:prstGeom prst="rect">
            <a:avLst/>
          </a:prstGeom>
          <a:effectLst>
            <a:softEdge rad="25400"/>
          </a:effectLst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06B5C29F-D3FF-4952-8A25-E160ABFBABB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463"/>
          <a:stretch/>
        </p:blipFill>
        <p:spPr>
          <a:xfrm>
            <a:off x="7608169" y="5126073"/>
            <a:ext cx="1749050" cy="1496093"/>
          </a:xfrm>
          <a:prstGeom prst="rect">
            <a:avLst/>
          </a:prstGeom>
          <a:effectLst>
            <a:softEdge rad="25400"/>
          </a:effec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3E604F6-A243-4210-9581-A3ACA16F54C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73293" y="5123765"/>
            <a:ext cx="2195315" cy="1482699"/>
          </a:xfrm>
          <a:prstGeom prst="rect">
            <a:avLst/>
          </a:prstGeom>
          <a:effectLst>
            <a:softEdge rad="25400"/>
          </a:effectLst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6B66B5E-77ED-4DE1-91FC-2B1E9361DA8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941145" y="3628421"/>
            <a:ext cx="1627463" cy="1488213"/>
          </a:xfrm>
          <a:prstGeom prst="rect">
            <a:avLst/>
          </a:prstGeom>
          <a:effectLst>
            <a:softEdge rad="25400"/>
          </a:effectLst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718C24B-4502-45C6-8381-319007E0003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2861" y="5094419"/>
            <a:ext cx="2751837" cy="1543233"/>
          </a:xfrm>
          <a:prstGeom prst="rect">
            <a:avLst/>
          </a:prstGeom>
          <a:effectLst>
            <a:softEdge rad="25400"/>
          </a:effectLst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09ACEDCD-9CA9-4219-B70F-F9DE660F7AEB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20326"/>
          <a:stretch/>
        </p:blipFill>
        <p:spPr>
          <a:xfrm>
            <a:off x="2894159" y="3634428"/>
            <a:ext cx="2565645" cy="1457904"/>
          </a:xfrm>
          <a:prstGeom prst="rect">
            <a:avLst/>
          </a:prstGeom>
          <a:effectLst>
            <a:softEdge rad="25400"/>
          </a:effectLst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EF0F4BE7-C25D-4662-A60D-413688F15D2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744071" y="620688"/>
            <a:ext cx="4170143" cy="2971825"/>
          </a:xfrm>
          <a:prstGeom prst="rect">
            <a:avLst/>
          </a:prstGeom>
        </p:spPr>
      </p:pic>
      <p:sp>
        <p:nvSpPr>
          <p:cNvPr id="22" name="TextBox 5">
            <a:extLst>
              <a:ext uri="{FF2B5EF4-FFF2-40B4-BE49-F238E27FC236}">
                <a16:creationId xmlns:a16="http://schemas.microsoft.com/office/drawing/2014/main" id="{5837452F-D593-4420-8952-F773403623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0716" y="158902"/>
            <a:ext cx="10209860" cy="46166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 contourW="12700" prstMaterial="dkEdge">
            <a:bevelT/>
            <a:bevelB/>
            <a:contourClr>
              <a:schemeClr val="bg1"/>
            </a:contourClr>
          </a:sp3d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	</a:t>
            </a:r>
            <a:r>
              <a:rPr kumimoji="0" lang="ru-RU" alt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  <a:r>
              <a:rPr kumimoji="0" lang="ru-RU" altLang="ru-RU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Мискантус</a:t>
            </a:r>
            <a:r>
              <a:rPr kumimoji="0" lang="ru-RU" alt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- «кластерное» экономически высоко эффективное сырье</a:t>
            </a:r>
          </a:p>
        </p:txBody>
      </p:sp>
      <p:pic>
        <p:nvPicPr>
          <p:cNvPr id="23" name="Picture 7" descr="\\andritz.com\Unit\PPF\Sales\_Projects\Croatia\Q-028274_Pan_Papir_Miscanthus_Trial_offer\06_Meetings_Presentations\florid1.jpg">
            <a:extLst>
              <a:ext uri="{FF2B5EF4-FFF2-40B4-BE49-F238E27FC236}">
                <a16:creationId xmlns:a16="http://schemas.microsoft.com/office/drawing/2014/main" id="{4D84456A-72AA-4C78-B336-0E72256C1D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70716" y="178920"/>
            <a:ext cx="648072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63500"/>
          </a:effectLst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406827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5"/>
          <p:cNvSpPr txBox="1">
            <a:spLocks noChangeArrowheads="1"/>
          </p:cNvSpPr>
          <p:nvPr/>
        </p:nvSpPr>
        <p:spPr bwMode="auto">
          <a:xfrm>
            <a:off x="1070716" y="158902"/>
            <a:ext cx="10209860" cy="46166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 contourW="12700" prstMaterial="dkEdge">
            <a:bevelT/>
            <a:bevelB/>
            <a:contourClr>
              <a:schemeClr val="bg1"/>
            </a:contourClr>
          </a:sp3d>
        </p:spPr>
        <p:txBody>
          <a:bodyPr wrap="square" anchor="ctr">
            <a:spAutoFit/>
          </a:bodyPr>
          <a:lstStyle/>
          <a:p>
            <a:pPr eaLnBrk="1" hangingPunct="1">
              <a:defRPr/>
            </a:pPr>
            <a:r>
              <a:rPr lang="ru-RU" alt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altLang="ru-RU" sz="2200" b="1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Альтернативы пластику – </a:t>
            </a:r>
            <a:r>
              <a:rPr lang="ru-RU" altLang="ru-RU" sz="2200" b="1" dirty="0" err="1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термоформованные</a:t>
            </a:r>
            <a:r>
              <a:rPr lang="ru-RU" altLang="ru-RU" sz="2200" b="1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изделия из </a:t>
            </a:r>
            <a:r>
              <a:rPr lang="ru-RU" altLang="ru-RU" sz="2200" b="1" dirty="0" err="1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искантуса</a:t>
            </a:r>
            <a:endParaRPr lang="ru-RU" altLang="ru-RU" sz="2200" b="1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7002DE0-2ED6-404E-BDDA-5DEFE1FF6FFE}"/>
              </a:ext>
            </a:extLst>
          </p:cNvPr>
          <p:cNvSpPr/>
          <p:nvPr/>
        </p:nvSpPr>
        <p:spPr>
          <a:xfrm>
            <a:off x="6456040" y="4332113"/>
            <a:ext cx="4896544" cy="1013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27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prstClr val="black"/>
                </a:solidFill>
                <a:latin typeface="Calibri"/>
                <a:cs typeface="Calibri"/>
              </a:rPr>
              <a:t>Подходит</a:t>
            </a:r>
            <a:r>
              <a:rPr lang="ru-RU" sz="1400" b="1" spc="-125" dirty="0">
                <a:solidFill>
                  <a:prstClr val="black"/>
                </a:solidFill>
                <a:latin typeface="Calibri"/>
                <a:cs typeface="Calibri"/>
              </a:rPr>
              <a:t> </a:t>
            </a:r>
            <a:r>
              <a:rPr lang="ru-RU" sz="1400" b="1" spc="-10" dirty="0">
                <a:solidFill>
                  <a:prstClr val="black"/>
                </a:solidFill>
                <a:latin typeface="Calibri"/>
                <a:cs typeface="Calibri"/>
              </a:rPr>
              <a:t>для:</a:t>
            </a:r>
            <a:endParaRPr lang="ru-RU" sz="1400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215900" indent="-186055" eaLnBrk="1" fontAlgn="auto" hangingPunct="1">
              <a:spcBef>
                <a:spcPts val="270"/>
              </a:spcBef>
              <a:spcAft>
                <a:spcPts val="0"/>
              </a:spcAft>
              <a:buClr>
                <a:srgbClr val="2C8F3A"/>
              </a:buClr>
              <a:buFont typeface="Arial Unicode MS"/>
              <a:buChar char="✓"/>
              <a:tabLst>
                <a:tab pos="215900" algn="l"/>
              </a:tabLst>
            </a:pPr>
            <a:r>
              <a:rPr lang="ru-RU" sz="2000" spc="22" baseline="1984" dirty="0">
                <a:solidFill>
                  <a:prstClr val="black"/>
                </a:solidFill>
                <a:latin typeface="Calibri"/>
                <a:cs typeface="Calibri"/>
              </a:rPr>
              <a:t>разогрева </a:t>
            </a:r>
            <a:r>
              <a:rPr lang="ru-RU" sz="2000" spc="-22" baseline="1984" dirty="0">
                <a:solidFill>
                  <a:prstClr val="black"/>
                </a:solidFill>
                <a:latin typeface="Calibri"/>
                <a:cs typeface="Calibri"/>
              </a:rPr>
              <a:t>блюд </a:t>
            </a:r>
            <a:r>
              <a:rPr lang="ru-RU" sz="2000" baseline="1984" dirty="0">
                <a:solidFill>
                  <a:prstClr val="black"/>
                </a:solidFill>
                <a:latin typeface="Calibri"/>
                <a:cs typeface="Calibri"/>
              </a:rPr>
              <a:t>и </a:t>
            </a:r>
            <a:r>
              <a:rPr lang="ru-RU" sz="2000" spc="7" baseline="1984" dirty="0">
                <a:solidFill>
                  <a:prstClr val="black"/>
                </a:solidFill>
                <a:latin typeface="Calibri"/>
                <a:cs typeface="Calibri"/>
              </a:rPr>
              <a:t>напитков </a:t>
            </a:r>
            <a:r>
              <a:rPr lang="ru-RU" sz="2000" spc="37" baseline="1984" dirty="0">
                <a:solidFill>
                  <a:prstClr val="black"/>
                </a:solidFill>
                <a:latin typeface="Calibri"/>
                <a:cs typeface="Calibri"/>
              </a:rPr>
              <a:t>в </a:t>
            </a:r>
            <a:r>
              <a:rPr lang="ru-RU" sz="2000" baseline="1984" dirty="0">
                <a:solidFill>
                  <a:prstClr val="black"/>
                </a:solidFill>
                <a:latin typeface="Calibri"/>
                <a:cs typeface="Calibri"/>
              </a:rPr>
              <a:t>микроволновой</a:t>
            </a:r>
            <a:r>
              <a:rPr lang="ru-RU" sz="2000" spc="450" baseline="1984" dirty="0">
                <a:solidFill>
                  <a:prstClr val="black"/>
                </a:solidFill>
                <a:latin typeface="Calibri"/>
                <a:cs typeface="Calibri"/>
              </a:rPr>
              <a:t> </a:t>
            </a:r>
            <a:r>
              <a:rPr lang="ru-RU" sz="2000" spc="7" baseline="1984" dirty="0">
                <a:solidFill>
                  <a:prstClr val="black"/>
                </a:solidFill>
                <a:latin typeface="Calibri"/>
                <a:cs typeface="Calibri"/>
              </a:rPr>
              <a:t>печи;</a:t>
            </a:r>
            <a:endParaRPr lang="ru-RU" sz="2000" baseline="1984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215900" indent="-186055" eaLnBrk="1" fontAlgn="auto" hangingPunct="1">
              <a:spcBef>
                <a:spcPts val="215"/>
              </a:spcBef>
              <a:spcAft>
                <a:spcPts val="0"/>
              </a:spcAft>
              <a:buClr>
                <a:srgbClr val="2C8F3A"/>
              </a:buClr>
              <a:buFont typeface="Arial Unicode MS"/>
              <a:buChar char="✓"/>
              <a:tabLst>
                <a:tab pos="215900" algn="l"/>
              </a:tabLst>
            </a:pPr>
            <a:r>
              <a:rPr lang="ru-RU" sz="2000" spc="7" baseline="1984" dirty="0">
                <a:solidFill>
                  <a:prstClr val="black"/>
                </a:solidFill>
                <a:latin typeface="Calibri"/>
                <a:cs typeface="Calibri"/>
              </a:rPr>
              <a:t>заморозки </a:t>
            </a:r>
            <a:r>
              <a:rPr lang="ru-RU" sz="2000" baseline="1984" dirty="0">
                <a:solidFill>
                  <a:prstClr val="black"/>
                </a:solidFill>
                <a:latin typeface="Calibri"/>
                <a:cs typeface="Calibri"/>
              </a:rPr>
              <a:t>и </a:t>
            </a:r>
            <a:r>
              <a:rPr lang="ru-RU" sz="2000" spc="22" baseline="1984" dirty="0">
                <a:solidFill>
                  <a:prstClr val="black"/>
                </a:solidFill>
                <a:latin typeface="Calibri"/>
                <a:cs typeface="Calibri"/>
              </a:rPr>
              <a:t>хранения </a:t>
            </a:r>
            <a:r>
              <a:rPr lang="ru-RU" sz="2000" baseline="1984" dirty="0">
                <a:solidFill>
                  <a:prstClr val="black"/>
                </a:solidFill>
                <a:latin typeface="Calibri"/>
                <a:cs typeface="Calibri"/>
              </a:rPr>
              <a:t>продуктов </a:t>
            </a:r>
            <a:r>
              <a:rPr lang="ru-RU" sz="2000" spc="15" baseline="1984" dirty="0">
                <a:solidFill>
                  <a:prstClr val="black"/>
                </a:solidFill>
                <a:latin typeface="Calibri"/>
                <a:cs typeface="Calibri"/>
              </a:rPr>
              <a:t>при </a:t>
            </a:r>
            <a:r>
              <a:rPr lang="ru-RU" sz="2000" spc="37" baseline="1984" dirty="0">
                <a:solidFill>
                  <a:prstClr val="black"/>
                </a:solidFill>
                <a:latin typeface="Calibri"/>
                <a:cs typeface="Calibri"/>
              </a:rPr>
              <a:t>низких </a:t>
            </a:r>
            <a:r>
              <a:rPr lang="ru-RU" sz="2000" spc="82" baseline="1984" dirty="0">
                <a:solidFill>
                  <a:prstClr val="black"/>
                </a:solidFill>
                <a:latin typeface="Calibri"/>
                <a:cs typeface="Calibri"/>
              </a:rPr>
              <a:t>t° </a:t>
            </a:r>
            <a:r>
              <a:rPr lang="ru-RU" sz="2000" spc="-22" baseline="1984" dirty="0">
                <a:solidFill>
                  <a:prstClr val="black"/>
                </a:solidFill>
                <a:latin typeface="Calibri"/>
                <a:cs typeface="Calibri"/>
              </a:rPr>
              <a:t>(до </a:t>
            </a:r>
            <a:r>
              <a:rPr lang="ru-RU" sz="2000" spc="112" baseline="1984" dirty="0">
                <a:solidFill>
                  <a:prstClr val="black"/>
                </a:solidFill>
                <a:latin typeface="Calibri"/>
                <a:cs typeface="Calibri"/>
              </a:rPr>
              <a:t>-20°</a:t>
            </a:r>
            <a:r>
              <a:rPr lang="ru-RU" sz="2000" spc="337" baseline="1984" dirty="0">
                <a:solidFill>
                  <a:prstClr val="black"/>
                </a:solidFill>
                <a:latin typeface="Calibri"/>
                <a:cs typeface="Calibri"/>
              </a:rPr>
              <a:t> </a:t>
            </a:r>
            <a:r>
              <a:rPr lang="ru-RU" sz="2000" baseline="1984" dirty="0">
                <a:solidFill>
                  <a:prstClr val="black"/>
                </a:solidFill>
                <a:latin typeface="Calibri"/>
                <a:cs typeface="Calibri"/>
              </a:rPr>
              <a:t>С);</a:t>
            </a:r>
          </a:p>
          <a:p>
            <a:pPr marL="215900" indent="-186055" eaLnBrk="1" fontAlgn="auto" hangingPunct="1">
              <a:spcBef>
                <a:spcPts val="215"/>
              </a:spcBef>
              <a:spcAft>
                <a:spcPts val="0"/>
              </a:spcAft>
              <a:buClr>
                <a:srgbClr val="2C8F3A"/>
              </a:buClr>
              <a:buFont typeface="Arial Unicode MS"/>
              <a:buChar char="✓"/>
              <a:tabLst>
                <a:tab pos="215900" algn="l"/>
              </a:tabLst>
            </a:pPr>
            <a:r>
              <a:rPr lang="ru-RU" sz="2000" baseline="1984" dirty="0">
                <a:solidFill>
                  <a:prstClr val="black"/>
                </a:solidFill>
                <a:latin typeface="Calibri"/>
                <a:cs typeface="Calibri"/>
              </a:rPr>
              <a:t>подачи </a:t>
            </a:r>
            <a:r>
              <a:rPr lang="ru-RU" sz="2000" spc="7" baseline="1984" dirty="0">
                <a:solidFill>
                  <a:prstClr val="black"/>
                </a:solidFill>
                <a:latin typeface="Calibri"/>
                <a:cs typeface="Calibri"/>
              </a:rPr>
              <a:t>горячей </a:t>
            </a:r>
            <a:r>
              <a:rPr lang="ru-RU" sz="2000" spc="-30" baseline="1984" dirty="0">
                <a:solidFill>
                  <a:prstClr val="black"/>
                </a:solidFill>
                <a:latin typeface="Calibri"/>
                <a:cs typeface="Calibri"/>
              </a:rPr>
              <a:t>еды </a:t>
            </a:r>
            <a:r>
              <a:rPr lang="ru-RU" sz="2000" baseline="1984" dirty="0">
                <a:solidFill>
                  <a:prstClr val="black"/>
                </a:solidFill>
                <a:latin typeface="Calibri"/>
                <a:cs typeface="Calibri"/>
              </a:rPr>
              <a:t>и </a:t>
            </a:r>
            <a:r>
              <a:rPr lang="ru-RU" sz="2000" spc="7" baseline="1984" dirty="0">
                <a:solidFill>
                  <a:prstClr val="black"/>
                </a:solidFill>
                <a:latin typeface="Calibri"/>
                <a:cs typeface="Calibri"/>
              </a:rPr>
              <a:t>напитков </a:t>
            </a:r>
            <a:r>
              <a:rPr lang="ru-RU" sz="2000" spc="-22" baseline="1984" dirty="0">
                <a:solidFill>
                  <a:prstClr val="black"/>
                </a:solidFill>
                <a:latin typeface="Calibri"/>
                <a:cs typeface="Calibri"/>
              </a:rPr>
              <a:t>(до </a:t>
            </a:r>
            <a:r>
              <a:rPr lang="ru-RU" sz="2000" spc="97" baseline="1984" dirty="0">
                <a:solidFill>
                  <a:prstClr val="black"/>
                </a:solidFill>
                <a:latin typeface="Calibri"/>
                <a:cs typeface="Calibri"/>
              </a:rPr>
              <a:t>100°</a:t>
            </a:r>
            <a:r>
              <a:rPr lang="ru-RU" sz="2000" spc="600" baseline="1984" dirty="0">
                <a:solidFill>
                  <a:prstClr val="black"/>
                </a:solidFill>
                <a:latin typeface="Calibri"/>
                <a:cs typeface="Calibri"/>
              </a:rPr>
              <a:t> </a:t>
            </a:r>
            <a:r>
              <a:rPr lang="ru-RU" sz="2000" spc="-22" baseline="1984" dirty="0">
                <a:solidFill>
                  <a:prstClr val="black"/>
                </a:solidFill>
                <a:latin typeface="Calibri"/>
                <a:cs typeface="Calibri"/>
              </a:rPr>
              <a:t>С).</a:t>
            </a:r>
            <a:endParaRPr lang="ru-RU" sz="2000" baseline="1984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04381E4-51F6-41F1-A624-9648F20F16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8050" y="984404"/>
            <a:ext cx="1091554" cy="532201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1C9159BB-A9AD-4EE2-B019-4D3130FB9DF5}"/>
              </a:ext>
            </a:extLst>
          </p:cNvPr>
          <p:cNvSpPr/>
          <p:nvPr/>
        </p:nvSpPr>
        <p:spPr>
          <a:xfrm>
            <a:off x="2426714" y="1129247"/>
            <a:ext cx="158417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 eaLnBrk="1" hangingPunct="1">
              <a:spcAft>
                <a:spcPts val="0"/>
              </a:spcAft>
            </a:pPr>
            <a:r>
              <a:rPr lang="ru-RU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истирол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65FE7D3-C4EC-433E-B0B0-6F1C0AB9B8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2580" y="1551312"/>
            <a:ext cx="1024217" cy="804742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5C476659-4B76-490A-B145-4E007B899D05}"/>
              </a:ext>
            </a:extLst>
          </p:cNvPr>
          <p:cNvSpPr/>
          <p:nvPr/>
        </p:nvSpPr>
        <p:spPr>
          <a:xfrm>
            <a:off x="2411878" y="1799795"/>
            <a:ext cx="158417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 eaLnBrk="1" hangingPunct="1">
              <a:spcAft>
                <a:spcPts val="0"/>
              </a:spcAft>
            </a:pPr>
            <a:r>
              <a:rPr lang="ru-RU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ипропилен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C731379E-1BF6-429E-8919-A52478F3DA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0716" y="2415408"/>
            <a:ext cx="1024217" cy="719720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829F1A40-7A23-4640-91DC-AD0953AA0E19}"/>
              </a:ext>
            </a:extLst>
          </p:cNvPr>
          <p:cNvSpPr/>
          <p:nvPr/>
        </p:nvSpPr>
        <p:spPr>
          <a:xfrm>
            <a:off x="2411878" y="2472920"/>
            <a:ext cx="158417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 eaLnBrk="1" hangingPunct="1">
              <a:spcAft>
                <a:spcPts val="0"/>
              </a:spcAft>
            </a:pPr>
            <a:r>
              <a:rPr lang="ru-RU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пененный  полистирол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5B4DA747-E40B-4BF3-AB4B-CA3BB316E4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2580" y="3207497"/>
            <a:ext cx="1024217" cy="906321"/>
          </a:xfrm>
          <a:prstGeom prst="rect">
            <a:avLst/>
          </a:prstGeom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8651110B-D343-4979-A115-C301E695B675}"/>
              </a:ext>
            </a:extLst>
          </p:cNvPr>
          <p:cNvSpPr/>
          <p:nvPr/>
        </p:nvSpPr>
        <p:spPr>
          <a:xfrm>
            <a:off x="2426714" y="3277263"/>
            <a:ext cx="1584176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 eaLnBrk="1" hangingPunct="1">
              <a:spcAft>
                <a:spcPts val="0"/>
              </a:spcAft>
            </a:pPr>
            <a:r>
              <a:rPr lang="ru-RU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он  ламинированный полиэтиленом</a:t>
            </a:r>
          </a:p>
        </p:txBody>
      </p:sp>
      <p:sp>
        <p:nvSpPr>
          <p:cNvPr id="18" name="Равнобедренный треугольник 17">
            <a:extLst>
              <a:ext uri="{FF2B5EF4-FFF2-40B4-BE49-F238E27FC236}">
                <a16:creationId xmlns:a16="http://schemas.microsoft.com/office/drawing/2014/main" id="{911BF2BF-ED10-4EA3-A4C2-4A5887E1C82C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rot="5400000">
            <a:off x="4152872" y="2425378"/>
            <a:ext cx="1234124" cy="228187"/>
          </a:xfrm>
          <a:prstGeom prst="triangle">
            <a:avLst/>
          </a:prstGeom>
          <a:solidFill>
            <a:srgbClr val="70AD47">
              <a:lumMod val="40000"/>
              <a:lumOff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2308" tIns="32400" rIns="62308" bIns="32400" numCol="1" rtlCol="0" anchor="ctr" anchorCtr="0" compatLnSpc="1">
            <a:prstTxWarp prst="textNoShape">
              <a:avLst/>
            </a:prstTxWarp>
          </a:bodyPr>
          <a:lstStyle/>
          <a:p>
            <a:pPr defTabSz="63306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592" b="1" kern="0">
              <a:solidFill>
                <a:sysClr val="windowText" lastClr="000000"/>
              </a:solidFill>
              <a:latin typeface="Trebuchet MS" panose="020B0603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5AAE139E-FBB6-4833-A3A0-9448EB202860}"/>
              </a:ext>
            </a:extLst>
          </p:cNvPr>
          <p:cNvSpPr/>
          <p:nvPr/>
        </p:nvSpPr>
        <p:spPr>
          <a:xfrm>
            <a:off x="5015880" y="2153798"/>
            <a:ext cx="132410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1" hangingPunct="1">
              <a:spcAft>
                <a:spcPts val="0"/>
              </a:spcAft>
            </a:pPr>
            <a:r>
              <a:rPr lang="ru-RU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целлюлозы </a:t>
            </a:r>
            <a:r>
              <a:rPr lang="ru-RU" sz="14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скантуса</a:t>
            </a:r>
            <a:endParaRPr lang="ru-RU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22" name="Таблица 21">
            <a:extLst>
              <a:ext uri="{FF2B5EF4-FFF2-40B4-BE49-F238E27FC236}">
                <a16:creationId xmlns:a16="http://schemas.microsoft.com/office/drawing/2014/main" id="{1982FDB2-2FFF-424C-BEB6-3B13263B32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5679509"/>
              </p:ext>
            </p:extLst>
          </p:nvPr>
        </p:nvGraphicFramePr>
        <p:xfrm>
          <a:off x="952379" y="4335298"/>
          <a:ext cx="5143621" cy="2118038"/>
        </p:xfrm>
        <a:graphic>
          <a:graphicData uri="http://schemas.openxmlformats.org/drawingml/2006/table">
            <a:tbl>
              <a:tblPr firstRow="1" firstCol="1" bandRow="1"/>
              <a:tblGrid>
                <a:gridCol w="1201342">
                  <a:extLst>
                    <a:ext uri="{9D8B030D-6E8A-4147-A177-3AD203B41FA5}">
                      <a16:colId xmlns:a16="http://schemas.microsoft.com/office/drawing/2014/main" val="1994984322"/>
                    </a:ext>
                  </a:extLst>
                </a:gridCol>
                <a:gridCol w="3942279">
                  <a:extLst>
                    <a:ext uri="{9D8B030D-6E8A-4147-A177-3AD203B41FA5}">
                      <a16:colId xmlns:a16="http://schemas.microsoft.com/office/drawing/2014/main" val="3702850979"/>
                    </a:ext>
                  </a:extLst>
                </a:gridCol>
              </a:tblGrid>
              <a:tr h="893294">
                <a:tc>
                  <a:txBody>
                    <a:bodyPr/>
                    <a:lstStyle/>
                    <a:p>
                      <a:pPr indent="228600"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endParaRPr lang="ru-RU" sz="1100">
                        <a:effectLst/>
                        <a:latin typeface="Verdana" panose="020B060403050404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R="30480" algn="just">
                        <a:spcBef>
                          <a:spcPts val="920"/>
                        </a:spcBef>
                        <a:spcAft>
                          <a:spcPts val="600"/>
                        </a:spcAft>
                      </a:pPr>
                      <a:r>
                        <a:rPr lang="ru-RU" sz="1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Из </a:t>
                      </a:r>
                      <a:r>
                        <a:rPr lang="ru-RU" sz="10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олистирола.</a:t>
                      </a:r>
                      <a:r>
                        <a:rPr lang="ru-RU" sz="1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Никогда нельзя подогревать на них пищу в микроволновках. В противном случае в пищу попадут вредные токсины. Выделяемый стирол накапливается в почках и печени и приводит к различным заболеваниям.</a:t>
                      </a:r>
                      <a:r>
                        <a:rPr lang="ru-RU" sz="1000" dirty="0">
                          <a:effectLst/>
                          <a:latin typeface="Verdana" panose="020B060403050404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100" dirty="0">
                        <a:effectLst/>
                        <a:latin typeface="Verdana" panose="020B060403050404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7938008"/>
                  </a:ext>
                </a:extLst>
              </a:tr>
              <a:tr h="1224744">
                <a:tc>
                  <a:txBody>
                    <a:bodyPr/>
                    <a:lstStyle/>
                    <a:p>
                      <a:pPr indent="228600"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endParaRPr lang="ru-RU" sz="1100">
                        <a:effectLst/>
                        <a:latin typeface="Verdana" panose="020B060403050404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R="30480" algn="just">
                        <a:spcBef>
                          <a:spcPts val="920"/>
                        </a:spcBef>
                        <a:spcAft>
                          <a:spcPts val="600"/>
                        </a:spcAft>
                      </a:pPr>
                      <a:r>
                        <a:rPr lang="ru-RU" sz="1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Из </a:t>
                      </a:r>
                      <a:r>
                        <a:rPr lang="ru-RU" sz="10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олипропилена</a:t>
                      </a:r>
                      <a:r>
                        <a:rPr lang="ru-RU" sz="1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. Полипропиленовая посуда выдерживает до +100° С. От соприкосновения алкоголя из полипропилена выделяются токсины – формальдегид и фенол. От этих токсинов тоже страдают почки и печень, кроме того, существует вероятность ослепнуть.</a:t>
                      </a:r>
                      <a:endParaRPr lang="ru-RU" sz="1100" dirty="0">
                        <a:effectLst/>
                        <a:latin typeface="Verdana" panose="020B060403050404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1798597"/>
                  </a:ext>
                </a:extLst>
              </a:tr>
            </a:tbl>
          </a:graphicData>
        </a:graphic>
      </p:graphicFrame>
      <p:pic>
        <p:nvPicPr>
          <p:cNvPr id="2050" name="Рисунок 139">
            <a:extLst>
              <a:ext uri="{FF2B5EF4-FFF2-40B4-BE49-F238E27FC236}">
                <a16:creationId xmlns:a16="http://schemas.microsoft.com/office/drawing/2014/main" id="{B6B21B86-0EF4-46CF-9BED-CBFFFE8FC9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891" y="4295627"/>
            <a:ext cx="918735" cy="945137"/>
          </a:xfrm>
          <a:prstGeom prst="rect">
            <a:avLst/>
          </a:prstGeom>
          <a:noFill/>
          <a:ln w="2540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9" name="Рисунок 158">
            <a:extLst>
              <a:ext uri="{FF2B5EF4-FFF2-40B4-BE49-F238E27FC236}">
                <a16:creationId xmlns:a16="http://schemas.microsoft.com/office/drawing/2014/main" id="{AAE981FE-5934-4D42-9827-48905F0C42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982" y="5320344"/>
            <a:ext cx="917477" cy="841062"/>
          </a:xfrm>
          <a:prstGeom prst="rect">
            <a:avLst/>
          </a:prstGeom>
          <a:noFill/>
          <a:ln w="2540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4D6F8C0E-96E5-4EDB-B519-7862ADF71C97}"/>
              </a:ext>
            </a:extLst>
          </p:cNvPr>
          <p:cNvSpPr/>
          <p:nvPr/>
        </p:nvSpPr>
        <p:spPr>
          <a:xfrm>
            <a:off x="6456040" y="5498068"/>
            <a:ext cx="48867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5900" indent="-186055" eaLnBrk="1" fontAlgn="auto" hangingPunct="1">
              <a:spcBef>
                <a:spcPts val="215"/>
              </a:spcBef>
              <a:spcAft>
                <a:spcPts val="0"/>
              </a:spcAft>
              <a:buClr>
                <a:srgbClr val="2C8F3A"/>
              </a:buClr>
              <a:buFont typeface="Arial Unicode MS"/>
              <a:buChar char="✓"/>
              <a:tabLst>
                <a:tab pos="215900" algn="l"/>
              </a:tabLst>
            </a:pPr>
            <a:r>
              <a:rPr lang="ru-RU" sz="2100" b="1" baseline="1984" dirty="0">
                <a:solidFill>
                  <a:prstClr val="black"/>
                </a:solidFill>
                <a:latin typeface="Calibri"/>
                <a:cs typeface="Calibri"/>
              </a:rPr>
              <a:t>экологичность </a:t>
            </a:r>
            <a:r>
              <a:rPr lang="ru-RU" sz="2100" spc="112" baseline="1984" dirty="0">
                <a:solidFill>
                  <a:prstClr val="black"/>
                </a:solidFill>
                <a:latin typeface="Calibri"/>
                <a:cs typeface="Calibri"/>
              </a:rPr>
              <a:t>- </a:t>
            </a:r>
            <a:r>
              <a:rPr lang="ru-RU" sz="2100" baseline="1984" dirty="0">
                <a:solidFill>
                  <a:prstClr val="black"/>
                </a:solidFill>
                <a:latin typeface="Calibri"/>
                <a:cs typeface="Calibri"/>
              </a:rPr>
              <a:t>полностью </a:t>
            </a:r>
            <a:r>
              <a:rPr lang="ru-RU" sz="2100" spc="15" baseline="1984" dirty="0">
                <a:solidFill>
                  <a:prstClr val="black"/>
                </a:solidFill>
                <a:latin typeface="Calibri"/>
                <a:cs typeface="Calibri"/>
              </a:rPr>
              <a:t>разлагается </a:t>
            </a:r>
            <a:r>
              <a:rPr lang="ru-RU" sz="2100" spc="37" baseline="1984" dirty="0">
                <a:solidFill>
                  <a:prstClr val="black"/>
                </a:solidFill>
                <a:latin typeface="Calibri"/>
                <a:cs typeface="Calibri"/>
              </a:rPr>
              <a:t>в </a:t>
            </a:r>
            <a:r>
              <a:rPr lang="ru-RU" sz="2100" baseline="1984" dirty="0">
                <a:solidFill>
                  <a:prstClr val="black"/>
                </a:solidFill>
                <a:latin typeface="Calibri"/>
                <a:cs typeface="Calibri"/>
              </a:rPr>
              <a:t>земле </a:t>
            </a:r>
            <a:r>
              <a:rPr lang="ru-RU" sz="2100" spc="7" baseline="1984" dirty="0">
                <a:solidFill>
                  <a:prstClr val="black"/>
                </a:solidFill>
                <a:latin typeface="Calibri"/>
                <a:cs typeface="Calibri"/>
              </a:rPr>
              <a:t>всего </a:t>
            </a:r>
            <a:r>
              <a:rPr lang="ru-RU" sz="2100" spc="22" baseline="1984" dirty="0">
                <a:solidFill>
                  <a:prstClr val="black"/>
                </a:solidFill>
                <a:latin typeface="Calibri"/>
                <a:cs typeface="Calibri"/>
              </a:rPr>
              <a:t>за </a:t>
            </a:r>
            <a:r>
              <a:rPr lang="ru-RU" sz="2100" baseline="1984" dirty="0">
                <a:solidFill>
                  <a:prstClr val="black"/>
                </a:solidFill>
                <a:latin typeface="Calibri"/>
                <a:cs typeface="Calibri"/>
              </a:rPr>
              <a:t>несколько </a:t>
            </a:r>
            <a:r>
              <a:rPr lang="ru-RU" sz="2100" spc="-7" baseline="1984" dirty="0">
                <a:solidFill>
                  <a:prstClr val="black"/>
                </a:solidFill>
                <a:latin typeface="Calibri"/>
                <a:cs typeface="Calibri"/>
              </a:rPr>
              <a:t>месяцев,  </a:t>
            </a:r>
            <a:r>
              <a:rPr lang="ru-RU" sz="2100" spc="7" baseline="1984" dirty="0">
                <a:solidFill>
                  <a:prstClr val="black"/>
                </a:solidFill>
                <a:latin typeface="Calibri"/>
                <a:cs typeface="Calibri"/>
              </a:rPr>
              <a:t>не </a:t>
            </a:r>
            <a:r>
              <a:rPr lang="ru-RU" sz="2100" spc="15" baseline="1984" dirty="0">
                <a:solidFill>
                  <a:prstClr val="black"/>
                </a:solidFill>
                <a:latin typeface="Calibri"/>
                <a:cs typeface="Calibri"/>
              </a:rPr>
              <a:t>загрязняя </a:t>
            </a:r>
            <a:r>
              <a:rPr lang="ru-RU" sz="2100" baseline="1984" dirty="0">
                <a:solidFill>
                  <a:prstClr val="black"/>
                </a:solidFill>
                <a:latin typeface="Calibri"/>
                <a:cs typeface="Calibri"/>
              </a:rPr>
              <a:t>окружающую </a:t>
            </a:r>
            <a:r>
              <a:rPr lang="ru-RU" sz="2100" spc="44" baseline="1984" dirty="0">
                <a:solidFill>
                  <a:prstClr val="black"/>
                </a:solidFill>
                <a:latin typeface="Calibri"/>
                <a:cs typeface="Calibri"/>
              </a:rPr>
              <a:t> </a:t>
            </a:r>
            <a:r>
              <a:rPr lang="ru-RU" sz="2100" baseline="1984" dirty="0">
                <a:solidFill>
                  <a:prstClr val="black"/>
                </a:solidFill>
                <a:latin typeface="Calibri"/>
                <a:cs typeface="Calibri"/>
              </a:rPr>
              <a:t>среду;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8A2FA47-EFBA-415E-9A04-856F758DDB3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99730" y="994573"/>
            <a:ext cx="4671198" cy="2992636"/>
          </a:xfrm>
          <a:prstGeom prst="rect">
            <a:avLst/>
          </a:prstGeom>
        </p:spPr>
      </p:pic>
      <p:pic>
        <p:nvPicPr>
          <p:cNvPr id="19" name="Picture 7" descr="\\andritz.com\Unit\PPF\Sales\_Projects\Croatia\Q-028274_Pan_Papir_Miscanthus_Trial_offer\06_Meetings_Presentations\florid1.jpg">
            <a:extLst>
              <a:ext uri="{FF2B5EF4-FFF2-40B4-BE49-F238E27FC236}">
                <a16:creationId xmlns:a16="http://schemas.microsoft.com/office/drawing/2014/main" id="{5E128EA0-BDFE-49C1-A3D8-1A5A647C93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51384" y="158752"/>
            <a:ext cx="648072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63500"/>
          </a:effectLst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10774802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6">
            <a:extLst>
              <a:ext uri="{FF2B5EF4-FFF2-40B4-BE49-F238E27FC236}">
                <a16:creationId xmlns:a16="http://schemas.microsoft.com/office/drawing/2014/main" id="{81CF4080-067A-4AE0-882D-DB96137D8B8D}"/>
              </a:ext>
            </a:extLst>
          </p:cNvPr>
          <p:cNvGrpSpPr>
            <a:grpSpLocks/>
          </p:cNvGrpSpPr>
          <p:nvPr/>
        </p:nvGrpSpPr>
        <p:grpSpPr bwMode="auto">
          <a:xfrm>
            <a:off x="839417" y="237132"/>
            <a:ext cx="10513166" cy="461665"/>
            <a:chOff x="611560" y="159172"/>
            <a:chExt cx="8075240" cy="461369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567FF17E-D476-4747-B06C-BE49FCA068F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5949" y="159172"/>
              <a:ext cx="8070851" cy="46136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eaLnBrk="1" hangingPunct="1">
                <a:defRPr/>
              </a:pPr>
              <a:r>
                <a:rPr lang="ru-RU" altLang="ru-RU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	</a:t>
              </a:r>
              <a:r>
                <a:rPr lang="ru-RU" altLang="ru-RU" sz="24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Глобальный лесной кризис</a:t>
              </a:r>
            </a:p>
          </p:txBody>
        </p:sp>
        <p:pic>
          <p:nvPicPr>
            <p:cNvPr id="5" name="Picture 7" descr="\\andritz.com\Unit\PPF\Sales\_Projects\Croatia\Q-028274_Pan_Papir_Miscanthus_Trial_offer\06_Meetings_Presentations\florid1.jpg">
              <a:extLst>
                <a:ext uri="{FF2B5EF4-FFF2-40B4-BE49-F238E27FC236}">
                  <a16:creationId xmlns:a16="http://schemas.microsoft.com/office/drawing/2014/main" id="{372E7A74-DB85-4164-B746-5EBF3A290D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611560" y="197619"/>
              <a:ext cx="387168" cy="3844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82F8068-F521-4CD1-8D4D-93883083F1D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7000"/>
                    </a14:imgEffect>
                  </a14:imgLayer>
                </a14:imgProps>
              </a:ext>
            </a:extLst>
          </a:blip>
          <a:srcRect l="1828" t="2446" r="91687" b="87104"/>
          <a:stretch/>
        </p:blipFill>
        <p:spPr>
          <a:xfrm>
            <a:off x="611551" y="1249822"/>
            <a:ext cx="731543" cy="883033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44AA87B-0E91-45BA-B5FC-7099E4B3263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3325" t="12897" b="9186"/>
          <a:stretch/>
        </p:blipFill>
        <p:spPr>
          <a:xfrm>
            <a:off x="6169902" y="1275458"/>
            <a:ext cx="5182681" cy="4536504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8EE07968-C62B-41E1-8920-BD651C1B6803}"/>
              </a:ext>
            </a:extLst>
          </p:cNvPr>
          <p:cNvSpPr/>
          <p:nvPr/>
        </p:nvSpPr>
        <p:spPr>
          <a:xfrm>
            <a:off x="4655840" y="6123591"/>
            <a:ext cx="6696744" cy="369332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txBody>
          <a:bodyPr wrap="square">
            <a:spAutoFit/>
          </a:bodyPr>
          <a:lstStyle/>
          <a:p>
            <a:r>
              <a:rPr lang="ru-RU" dirty="0"/>
              <a:t>Существующий уровень сохранения лесов недостаточен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7B5AF750-15CC-41EB-903C-CF2B6AD658DE}"/>
              </a:ext>
            </a:extLst>
          </p:cNvPr>
          <p:cNvSpPr txBox="1">
            <a:spLocks/>
          </p:cNvSpPr>
          <p:nvPr/>
        </p:nvSpPr>
        <p:spPr>
          <a:xfrm>
            <a:off x="1343094" y="1232034"/>
            <a:ext cx="4752906" cy="4579928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/>
              <a:t>Половина лесов мира исчезла к настоящему времени.</a:t>
            </a:r>
          </a:p>
          <a:p>
            <a:r>
              <a:rPr lang="ru-RU" sz="2800" dirty="0"/>
              <a:t>Около 15 млн. Га лесов исчезает ежегодно.</a:t>
            </a:r>
          </a:p>
          <a:p>
            <a:r>
              <a:rPr lang="ru-RU" sz="2800" dirty="0"/>
              <a:t>Каждый день исчезает 100 видов. 25% видов млекопитающих и 11% птиц находятся под угрозой исчезновения.</a:t>
            </a:r>
            <a:endParaRPr lang="de-CH" sz="2800" dirty="0"/>
          </a:p>
        </p:txBody>
      </p:sp>
      <p:grpSp>
        <p:nvGrpSpPr>
          <p:cNvPr id="10" name="Группа 6">
            <a:extLst>
              <a:ext uri="{FF2B5EF4-FFF2-40B4-BE49-F238E27FC236}">
                <a16:creationId xmlns:a16="http://schemas.microsoft.com/office/drawing/2014/main" id="{4F2A21BE-47D9-4D87-9C62-7963F06A2EB2}"/>
              </a:ext>
            </a:extLst>
          </p:cNvPr>
          <p:cNvGrpSpPr>
            <a:grpSpLocks/>
          </p:cNvGrpSpPr>
          <p:nvPr/>
        </p:nvGrpSpPr>
        <p:grpSpPr bwMode="auto">
          <a:xfrm>
            <a:off x="839417" y="260648"/>
            <a:ext cx="10513166" cy="461665"/>
            <a:chOff x="611560" y="159172"/>
            <a:chExt cx="8075240" cy="461369"/>
          </a:xfrm>
        </p:grpSpPr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857977E5-2A83-4C15-BFC1-24D0D48CD22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5949" y="159172"/>
              <a:ext cx="8070851" cy="46136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eaLnBrk="1" hangingPunct="1">
                <a:defRPr/>
              </a:pPr>
              <a:r>
                <a:rPr lang="ru-RU" altLang="ru-RU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	</a:t>
              </a:r>
              <a:r>
                <a:rPr lang="ru-RU" altLang="ru-RU" sz="24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Глобальный лесной кризис</a:t>
              </a:r>
            </a:p>
          </p:txBody>
        </p:sp>
        <p:pic>
          <p:nvPicPr>
            <p:cNvPr id="12" name="Picture 7" descr="\\andritz.com\Unit\PPF\Sales\_Projects\Croatia\Q-028274_Pan_Papir_Miscanthus_Trial_offer\06_Meetings_Presentations\florid1.jpg">
              <a:extLst>
                <a:ext uri="{FF2B5EF4-FFF2-40B4-BE49-F238E27FC236}">
                  <a16:creationId xmlns:a16="http://schemas.microsoft.com/office/drawing/2014/main" id="{D3BB4A3F-F699-4EE0-B25F-D8CFEC09D7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611560" y="197619"/>
              <a:ext cx="387168" cy="3844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"/>
          <p:cNvSpPr txBox="1">
            <a:spLocks/>
          </p:cNvSpPr>
          <p:nvPr/>
        </p:nvSpPr>
        <p:spPr>
          <a:xfrm>
            <a:off x="180304" y="858481"/>
            <a:ext cx="4572000" cy="277811"/>
          </a:xfrm>
          <a:prstGeom prst="rect">
            <a:avLst/>
          </a:prstGeom>
          <a:noFill/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800" kern="1200" cap="all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ru-RU" sz="14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уда из сахарного тростника</a:t>
            </a: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2107A90D-75B0-45AF-A373-08D154A3D5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0825813"/>
              </p:ext>
            </p:extLst>
          </p:nvPr>
        </p:nvGraphicFramePr>
        <p:xfrm>
          <a:off x="180304" y="1056958"/>
          <a:ext cx="4571999" cy="24155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199D1558-D3F7-4ACF-90D5-A22C87C73F9F}"/>
              </a:ext>
            </a:extLst>
          </p:cNvPr>
          <p:cNvSpPr txBox="1">
            <a:spLocks/>
          </p:cNvSpPr>
          <p:nvPr/>
        </p:nvSpPr>
        <p:spPr>
          <a:xfrm>
            <a:off x="4127574" y="2035535"/>
            <a:ext cx="4572000" cy="277811"/>
          </a:xfrm>
          <a:prstGeom prst="rect">
            <a:avLst/>
          </a:prstGeom>
          <a:noFill/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1400" cap="all">
                <a:ln w="3175" cmpd="sng"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r>
              <a:rPr lang="ru-RU" dirty="0"/>
              <a:t>Посуда из ЦЕЛЛЮЛОЗЫ ЛИСТВЕННОЙ </a:t>
            </a:r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7EEC7A58-5B0F-4CAE-B57A-502C4F3BA5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5709217"/>
              </p:ext>
            </p:extLst>
          </p:nvPr>
        </p:nvGraphicFramePr>
        <p:xfrm>
          <a:off x="4127576" y="2248048"/>
          <a:ext cx="4571999" cy="24155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Диаграмма 18">
            <a:extLst>
              <a:ext uri="{FF2B5EF4-FFF2-40B4-BE49-F238E27FC236}">
                <a16:creationId xmlns:a16="http://schemas.microsoft.com/office/drawing/2014/main" id="{F3BDB104-FC87-46E7-9DC2-27488DAC2D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3303443"/>
              </p:ext>
            </p:extLst>
          </p:nvPr>
        </p:nvGraphicFramePr>
        <p:xfrm>
          <a:off x="7588752" y="4025182"/>
          <a:ext cx="4440116" cy="24155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DD860B8C-A054-4D74-AA5D-DE0AF5A53E97}"/>
              </a:ext>
            </a:extLst>
          </p:cNvPr>
          <p:cNvSpPr txBox="1">
            <a:spLocks/>
          </p:cNvSpPr>
          <p:nvPr/>
        </p:nvSpPr>
        <p:spPr>
          <a:xfrm>
            <a:off x="7588752" y="3819526"/>
            <a:ext cx="4440116" cy="277811"/>
          </a:xfrm>
          <a:prstGeom prst="rect">
            <a:avLst/>
          </a:prstGeom>
          <a:noFill/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1400" cap="all">
                <a:ln w="3175" cmpd="sng"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r>
              <a:rPr lang="ru-RU" dirty="0"/>
              <a:t>Посуда из мискантуса</a:t>
            </a:r>
          </a:p>
        </p:txBody>
      </p:sp>
      <p:sp>
        <p:nvSpPr>
          <p:cNvPr id="10" name="Прямоугольный треугольник 9">
            <a:extLst>
              <a:ext uri="{FF2B5EF4-FFF2-40B4-BE49-F238E27FC236}">
                <a16:creationId xmlns:a16="http://schemas.microsoft.com/office/drawing/2014/main" id="{8D612FFE-BA19-4B31-83C0-B37678445161}"/>
              </a:ext>
            </a:extLst>
          </p:cNvPr>
          <p:cNvSpPr/>
          <p:nvPr/>
        </p:nvSpPr>
        <p:spPr>
          <a:xfrm>
            <a:off x="180305" y="3591641"/>
            <a:ext cx="8526018" cy="3077464"/>
          </a:xfrm>
          <a:prstGeom prst="rtTriangl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D0E6AE01-456D-4694-9062-5F414E1F7C3C}"/>
              </a:ext>
            </a:extLst>
          </p:cNvPr>
          <p:cNvSpPr txBox="1">
            <a:spLocks/>
          </p:cNvSpPr>
          <p:nvPr/>
        </p:nvSpPr>
        <p:spPr>
          <a:xfrm>
            <a:off x="366616" y="6235066"/>
            <a:ext cx="4572000" cy="277811"/>
          </a:xfrm>
          <a:prstGeom prst="rect">
            <a:avLst/>
          </a:prstGeom>
          <a:noFill/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1400" cap="all">
                <a:ln w="3175" cmpd="sng"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r>
              <a:rPr lang="ru-RU" dirty="0"/>
              <a:t>Прямая себестоимость, руб. </a:t>
            </a:r>
            <a:r>
              <a:rPr lang="en-US" dirty="0"/>
              <a:t>/</a:t>
            </a:r>
            <a:r>
              <a:rPr lang="ru-RU" dirty="0"/>
              <a:t> кг.</a:t>
            </a: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EDDC7B20-7DDC-40A6-94A0-CF8832D4E069}"/>
              </a:ext>
            </a:extLst>
          </p:cNvPr>
          <p:cNvSpPr/>
          <p:nvPr/>
        </p:nvSpPr>
        <p:spPr>
          <a:xfrm>
            <a:off x="1529862" y="3819526"/>
            <a:ext cx="861646" cy="82715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33</a:t>
            </a:r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3CC1C0F8-F7F5-42D9-82C3-22207C3D10AD}"/>
              </a:ext>
            </a:extLst>
          </p:cNvPr>
          <p:cNvSpPr/>
          <p:nvPr/>
        </p:nvSpPr>
        <p:spPr>
          <a:xfrm>
            <a:off x="3191134" y="4405802"/>
            <a:ext cx="861646" cy="82715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90</a:t>
            </a:r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CBD6351F-1635-4EB8-921D-FF1762E053E9}"/>
              </a:ext>
            </a:extLst>
          </p:cNvPr>
          <p:cNvSpPr/>
          <p:nvPr/>
        </p:nvSpPr>
        <p:spPr>
          <a:xfrm>
            <a:off x="5867668" y="5378058"/>
            <a:ext cx="861646" cy="82715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55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CE62AD69-BAFD-4A66-ADB9-DCA09D3ACA6C}"/>
              </a:ext>
            </a:extLst>
          </p:cNvPr>
          <p:cNvSpPr/>
          <p:nvPr/>
        </p:nvSpPr>
        <p:spPr>
          <a:xfrm>
            <a:off x="4752303" y="782349"/>
            <a:ext cx="7259393" cy="70788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pPr algn="ctr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</a:pPr>
            <a:r>
              <a:rPr lang="ru-RU" sz="2000" b="1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авнение прямой себестоимости готовой продукции в зависимости от используемого сырья</a:t>
            </a:r>
          </a:p>
        </p:txBody>
      </p:sp>
      <p:grpSp>
        <p:nvGrpSpPr>
          <p:cNvPr id="21" name="Группа 5">
            <a:extLst>
              <a:ext uri="{FF2B5EF4-FFF2-40B4-BE49-F238E27FC236}">
                <a16:creationId xmlns:a16="http://schemas.microsoft.com/office/drawing/2014/main" id="{3F018078-AC8B-4B50-A534-2C4A096C8D82}"/>
              </a:ext>
            </a:extLst>
          </p:cNvPr>
          <p:cNvGrpSpPr>
            <a:grpSpLocks/>
          </p:cNvGrpSpPr>
          <p:nvPr/>
        </p:nvGrpSpPr>
        <p:grpSpPr bwMode="auto">
          <a:xfrm>
            <a:off x="180306" y="158725"/>
            <a:ext cx="11881319" cy="461963"/>
            <a:chOff x="611561" y="159022"/>
            <a:chExt cx="8075239" cy="461666"/>
          </a:xfrm>
        </p:grpSpPr>
        <p:sp>
          <p:nvSpPr>
            <p:cNvPr id="23" name="TextBox 5">
              <a:extLst>
                <a:ext uri="{FF2B5EF4-FFF2-40B4-BE49-F238E27FC236}">
                  <a16:creationId xmlns:a16="http://schemas.microsoft.com/office/drawing/2014/main" id="{3052098C-6DEB-4229-BB4C-E56C4E14C66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5949" y="159023"/>
              <a:ext cx="8070851" cy="46166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eaLnBrk="1" hangingPunct="1">
                <a:defRPr/>
              </a:pPr>
              <a:r>
                <a:rPr lang="ru-RU" altLang="ru-RU" sz="2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	</a:t>
              </a:r>
              <a:r>
                <a:rPr lang="ru-RU" altLang="ru-RU" sz="22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Конкурентные преимущества при производстве одноразовой </a:t>
              </a:r>
              <a:r>
                <a:rPr lang="ru-RU" altLang="ru-RU" sz="2200" b="1" dirty="0" err="1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экопосуды</a:t>
              </a:r>
              <a:endParaRPr lang="ru-RU" altLang="ru-RU" sz="2200" b="1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27" name="Picture 7" descr="\\andritz.com\Unit\PPF\Sales\_Projects\Croatia\Q-028274_Pan_Papir_Miscanthus_Trial_offer\06_Meetings_Presentations\florid1.jpg">
              <a:extLst>
                <a:ext uri="{FF2B5EF4-FFF2-40B4-BE49-F238E27FC236}">
                  <a16:creationId xmlns:a16="http://schemas.microsoft.com/office/drawing/2014/main" id="{1CD51D37-41EB-41A7-993C-7B18E94D12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11561" y="159022"/>
              <a:ext cx="447971" cy="461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</p:spTree>
    <p:extLst>
      <p:ext uri="{BB962C8B-B14F-4D97-AF65-F5344CB8AC3E}">
        <p14:creationId xmlns:p14="http://schemas.microsoft.com/office/powerpoint/2010/main" val="31743745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/>
          <p:cNvGraphicFramePr>
            <a:graphicFrameLocks noGrp="1"/>
          </p:cNvGraphicFramePr>
          <p:nvPr/>
        </p:nvGraphicFramePr>
        <p:xfrm>
          <a:off x="1703512" y="901899"/>
          <a:ext cx="4777331" cy="524704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87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180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72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6519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R w="28575">
                      <a:solidFill>
                        <a:srgbClr val="C9C3BA"/>
                      </a:solidFill>
                      <a:prstDash val="solid"/>
                    </a:lnR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900" dirty="0">
                        <a:latin typeface="Times New Roman"/>
                        <a:cs typeface="Times New Roman"/>
                      </a:endParaRPr>
                    </a:p>
                    <a:p>
                      <a:pPr marL="8255" algn="ctr">
                        <a:lnSpc>
                          <a:spcPct val="100000"/>
                        </a:lnSpc>
                      </a:pPr>
                      <a:r>
                        <a:rPr sz="1000" spc="5" dirty="0">
                          <a:latin typeface="Calibri"/>
                          <a:cs typeface="Calibri"/>
                        </a:rPr>
                        <a:t>Полистирол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28575">
                      <a:solidFill>
                        <a:srgbClr val="C9C3BA"/>
                      </a:solidFill>
                      <a:prstDash val="solid"/>
                    </a:lnL>
                    <a:lnR w="28575">
                      <a:solidFill>
                        <a:srgbClr val="C9C3BA"/>
                      </a:solidFill>
                      <a:prstDash val="solid"/>
                    </a:lnR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50800">
                        <a:lnSpc>
                          <a:spcPct val="100000"/>
                        </a:lnSpc>
                        <a:spcBef>
                          <a:spcPts val="990"/>
                        </a:spcBef>
                      </a:pPr>
                      <a:r>
                        <a:rPr sz="800" spc="5" dirty="0">
                          <a:latin typeface="Calibri"/>
                          <a:cs typeface="Calibri"/>
                        </a:rPr>
                        <a:t>d=17см; вес=3,5гр; 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цена </a:t>
                      </a:r>
                      <a:r>
                        <a:rPr sz="800" b="1" spc="5" dirty="0">
                          <a:latin typeface="Calibri"/>
                          <a:cs typeface="Calibri"/>
                        </a:rPr>
                        <a:t>опт </a:t>
                      </a:r>
                      <a:r>
                        <a:rPr sz="800" b="1" spc="25" dirty="0">
                          <a:latin typeface="Calibri"/>
                          <a:cs typeface="Calibri"/>
                        </a:rPr>
                        <a:t>= </a:t>
                      </a:r>
                      <a:r>
                        <a:rPr sz="800" b="1" spc="30" dirty="0">
                          <a:latin typeface="Calibri"/>
                          <a:cs typeface="Calibri"/>
                        </a:rPr>
                        <a:t>0,7</a:t>
                      </a:r>
                      <a:r>
                        <a:rPr sz="800" b="1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b="1" spc="-20" dirty="0">
                          <a:latin typeface="Calibri"/>
                          <a:cs typeface="Calibri"/>
                        </a:rPr>
                        <a:t>руб./шт.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  <a:p>
                      <a:pPr marL="50800">
                        <a:lnSpc>
                          <a:spcPct val="100000"/>
                        </a:lnSpc>
                        <a:spcBef>
                          <a:spcPts val="60"/>
                        </a:spcBef>
                        <a:tabLst>
                          <a:tab pos="1343660" algn="l"/>
                        </a:tabLst>
                      </a:pPr>
                      <a:r>
                        <a:rPr sz="800" spc="5" dirty="0">
                          <a:latin typeface="Calibri"/>
                          <a:cs typeface="Calibri"/>
                        </a:rPr>
                        <a:t>d=22см;</a:t>
                      </a:r>
                      <a:r>
                        <a:rPr sz="800" spc="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10" dirty="0">
                          <a:latin typeface="Calibri"/>
                          <a:cs typeface="Calibri"/>
                        </a:rPr>
                        <a:t>вес=5гр;</a:t>
                      </a:r>
                      <a:r>
                        <a:rPr lang="en-US" sz="800" spc="10" dirty="0">
                          <a:latin typeface="Calibri"/>
                          <a:cs typeface="Calibri"/>
                        </a:rPr>
                        <a:t>    </a:t>
                      </a:r>
                      <a:r>
                        <a:rPr sz="800" b="1" spc="-5" dirty="0" err="1">
                          <a:latin typeface="Calibri"/>
                          <a:cs typeface="Calibri"/>
                        </a:rPr>
                        <a:t>цена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b="1" spc="5" dirty="0">
                          <a:latin typeface="Calibri"/>
                          <a:cs typeface="Calibri"/>
                        </a:rPr>
                        <a:t>опт </a:t>
                      </a:r>
                      <a:r>
                        <a:rPr sz="800" b="1" spc="25" dirty="0">
                          <a:latin typeface="Calibri"/>
                          <a:cs typeface="Calibri"/>
                        </a:rPr>
                        <a:t>= </a:t>
                      </a:r>
                      <a:r>
                        <a:rPr sz="800" b="1" spc="40" dirty="0">
                          <a:latin typeface="Calibri"/>
                          <a:cs typeface="Calibri"/>
                        </a:rPr>
                        <a:t>1,35</a:t>
                      </a:r>
                      <a:r>
                        <a:rPr sz="800" b="1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b="1" spc="-20" dirty="0">
                          <a:latin typeface="Calibri"/>
                          <a:cs typeface="Calibri"/>
                        </a:rPr>
                        <a:t>руб./шт.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28575">
                      <a:solidFill>
                        <a:srgbClr val="C9C3BA"/>
                      </a:solidFill>
                      <a:prstDash val="solid"/>
                    </a:lnL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0183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R w="28575">
                      <a:solidFill>
                        <a:srgbClr val="C9C3BA"/>
                      </a:solidFill>
                      <a:prstDash val="solid"/>
                    </a:lnR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  <a:p>
                      <a:pPr marL="9525" algn="ctr">
                        <a:lnSpc>
                          <a:spcPct val="100000"/>
                        </a:lnSpc>
                      </a:pPr>
                      <a:r>
                        <a:rPr sz="1000" spc="5" dirty="0">
                          <a:latin typeface="Calibri"/>
                          <a:cs typeface="Calibri"/>
                        </a:rPr>
                        <a:t>Полипропилен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28575">
                      <a:solidFill>
                        <a:srgbClr val="C9C3BA"/>
                      </a:solidFill>
                      <a:prstDash val="solid"/>
                    </a:lnL>
                    <a:lnR w="28575">
                      <a:solidFill>
                        <a:srgbClr val="C9C3BA"/>
                      </a:solidFill>
                      <a:prstDash val="solid"/>
                    </a:lnR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800" spc="5" dirty="0">
                          <a:latin typeface="Calibri"/>
                          <a:cs typeface="Calibri"/>
                        </a:rPr>
                        <a:t>d=16см; вес=8,5гр; 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цена </a:t>
                      </a:r>
                      <a:r>
                        <a:rPr sz="800" b="1" spc="5" dirty="0">
                          <a:latin typeface="Calibri"/>
                          <a:cs typeface="Calibri"/>
                        </a:rPr>
                        <a:t>опт </a:t>
                      </a:r>
                      <a:r>
                        <a:rPr sz="800" b="1" spc="25" dirty="0">
                          <a:latin typeface="Calibri"/>
                          <a:cs typeface="Calibri"/>
                        </a:rPr>
                        <a:t>= </a:t>
                      </a:r>
                      <a:r>
                        <a:rPr sz="800" b="1" spc="40" dirty="0">
                          <a:latin typeface="Calibri"/>
                          <a:cs typeface="Calibri"/>
                        </a:rPr>
                        <a:t>0,75</a:t>
                      </a:r>
                      <a:r>
                        <a:rPr sz="800" b="1" spc="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b="1" spc="-20" dirty="0">
                          <a:latin typeface="Calibri"/>
                          <a:cs typeface="Calibri"/>
                        </a:rPr>
                        <a:t>руб./шт.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marL="50800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spc="5" dirty="0">
                          <a:latin typeface="Calibri"/>
                          <a:cs typeface="Calibri"/>
                        </a:rPr>
                        <a:t>d=22см; </a:t>
                      </a:r>
                      <a:r>
                        <a:rPr sz="800" spc="15" dirty="0">
                          <a:latin typeface="Calibri"/>
                          <a:cs typeface="Calibri"/>
                        </a:rPr>
                        <a:t>вес=11гр;  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цена </a:t>
                      </a:r>
                      <a:r>
                        <a:rPr sz="800" b="1" spc="5" dirty="0">
                          <a:latin typeface="Calibri"/>
                          <a:cs typeface="Calibri"/>
                        </a:rPr>
                        <a:t>опт </a:t>
                      </a:r>
                      <a:r>
                        <a:rPr sz="800" b="1" spc="25" dirty="0">
                          <a:latin typeface="Calibri"/>
                          <a:cs typeface="Calibri"/>
                        </a:rPr>
                        <a:t>= </a:t>
                      </a:r>
                      <a:r>
                        <a:rPr sz="800" b="1" spc="30" dirty="0">
                          <a:latin typeface="Calibri"/>
                          <a:cs typeface="Calibri"/>
                        </a:rPr>
                        <a:t>1,7</a:t>
                      </a:r>
                      <a:r>
                        <a:rPr sz="800" b="1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b="1" spc="-20" dirty="0">
                          <a:latin typeface="Calibri"/>
                          <a:cs typeface="Calibri"/>
                        </a:rPr>
                        <a:t>руб./шт.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28575">
                      <a:solidFill>
                        <a:srgbClr val="C9C3BA"/>
                      </a:solidFill>
                      <a:prstDash val="solid"/>
                    </a:lnL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5628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R w="28575">
                      <a:solidFill>
                        <a:srgbClr val="C9C3BA"/>
                      </a:solidFill>
                      <a:prstDash val="solid"/>
                    </a:lnR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lang="ru-RU" sz="1600" dirty="0">
                        <a:latin typeface="Times New Roman"/>
                        <a:cs typeface="Times New Roman"/>
                      </a:endParaRPr>
                    </a:p>
                    <a:p>
                      <a:pPr marL="0" marR="271145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00" dirty="0" err="1">
                          <a:latin typeface="Calibri"/>
                          <a:cs typeface="Calibri"/>
                        </a:rPr>
                        <a:t>Вспененный</a:t>
                      </a:r>
                      <a:r>
                        <a:rPr sz="1000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000" spc="0" dirty="0">
                          <a:latin typeface="Calibri"/>
                          <a:cs typeface="Calibri"/>
                        </a:rPr>
                        <a:t>полистирол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2679" marB="0">
                    <a:lnL w="28575">
                      <a:solidFill>
                        <a:srgbClr val="C9C3BA"/>
                      </a:solidFill>
                      <a:prstDash val="solid"/>
                    </a:lnL>
                    <a:lnR w="28575">
                      <a:solidFill>
                        <a:srgbClr val="C9C3BA"/>
                      </a:solidFill>
                      <a:prstDash val="solid"/>
                    </a:lnR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900" dirty="0">
                        <a:latin typeface="Times New Roman"/>
                        <a:cs typeface="Times New Roman"/>
                      </a:endParaRPr>
                    </a:p>
                    <a:p>
                      <a:pPr marL="50800">
                        <a:lnSpc>
                          <a:spcPct val="100000"/>
                        </a:lnSpc>
                        <a:tabLst>
                          <a:tab pos="1343660" algn="l"/>
                        </a:tabLst>
                      </a:pPr>
                      <a:r>
                        <a:rPr sz="800" spc="5" dirty="0">
                          <a:latin typeface="Calibri"/>
                          <a:cs typeface="Calibri"/>
                        </a:rPr>
                        <a:t>d=17см;</a:t>
                      </a:r>
                      <a:r>
                        <a:rPr sz="800" spc="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10" dirty="0">
                          <a:latin typeface="Calibri"/>
                          <a:cs typeface="Calibri"/>
                        </a:rPr>
                        <a:t>вес=3гр;</a:t>
                      </a:r>
                      <a:r>
                        <a:rPr lang="en-US" sz="800" spc="10" dirty="0">
                          <a:latin typeface="Calibri"/>
                          <a:cs typeface="Calibri"/>
                        </a:rPr>
                        <a:t>    </a:t>
                      </a:r>
                      <a:r>
                        <a:rPr sz="800" b="1" spc="-5" dirty="0" err="1">
                          <a:latin typeface="Calibri"/>
                          <a:cs typeface="Calibri"/>
                        </a:rPr>
                        <a:t>цена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b="1" spc="5" dirty="0">
                          <a:latin typeface="Calibri"/>
                          <a:cs typeface="Calibri"/>
                        </a:rPr>
                        <a:t>опт </a:t>
                      </a:r>
                      <a:r>
                        <a:rPr sz="800" b="1" spc="25" dirty="0">
                          <a:latin typeface="Calibri"/>
                          <a:cs typeface="Calibri"/>
                        </a:rPr>
                        <a:t>= </a:t>
                      </a:r>
                      <a:r>
                        <a:rPr sz="800" b="1" spc="40" dirty="0">
                          <a:latin typeface="Calibri"/>
                          <a:cs typeface="Calibri"/>
                        </a:rPr>
                        <a:t>0,75</a:t>
                      </a:r>
                      <a:r>
                        <a:rPr sz="800" b="1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b="1" spc="-20" dirty="0">
                          <a:latin typeface="Calibri"/>
                          <a:cs typeface="Calibri"/>
                        </a:rPr>
                        <a:t>руб./шт.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  <a:p>
                      <a:pPr marL="50800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r>
                        <a:rPr sz="800" spc="0" dirty="0">
                          <a:latin typeface="Calibri"/>
                          <a:cs typeface="Calibri"/>
                        </a:rPr>
                        <a:t>d=22,5см; </a:t>
                      </a:r>
                      <a:r>
                        <a:rPr sz="800" spc="10" dirty="0">
                          <a:latin typeface="Calibri"/>
                          <a:cs typeface="Calibri"/>
                        </a:rPr>
                        <a:t>вес=5гр; 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цена </a:t>
                      </a:r>
                      <a:r>
                        <a:rPr sz="800" b="1" spc="5" dirty="0">
                          <a:latin typeface="Calibri"/>
                          <a:cs typeface="Calibri"/>
                        </a:rPr>
                        <a:t>опт </a:t>
                      </a:r>
                      <a:r>
                        <a:rPr sz="800" b="1" spc="25" dirty="0">
                          <a:latin typeface="Calibri"/>
                          <a:cs typeface="Calibri"/>
                        </a:rPr>
                        <a:t>= </a:t>
                      </a:r>
                      <a:r>
                        <a:rPr sz="800" b="1" spc="40" dirty="0">
                          <a:latin typeface="Calibri"/>
                          <a:cs typeface="Calibri"/>
                        </a:rPr>
                        <a:t>1,25</a:t>
                      </a:r>
                      <a:r>
                        <a:rPr sz="800" b="1" spc="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b="1" spc="-20" dirty="0">
                          <a:latin typeface="Calibri"/>
                          <a:cs typeface="Calibri"/>
                        </a:rPr>
                        <a:t>руб./шт.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28575">
                      <a:solidFill>
                        <a:srgbClr val="C9C3BA"/>
                      </a:solidFill>
                      <a:prstDash val="solid"/>
                    </a:lnL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5628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R w="28575">
                      <a:solidFill>
                        <a:srgbClr val="C9C3BA"/>
                      </a:solidFill>
                      <a:prstDash val="solid"/>
                    </a:lnR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0" marR="9525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Макулатурная  </a:t>
                      </a:r>
                      <a:r>
                        <a:rPr sz="1000" spc="-10" dirty="0">
                          <a:latin typeface="Calibri"/>
                          <a:cs typeface="Calibri"/>
                        </a:rPr>
                        <a:t>бумага,  </a:t>
                      </a:r>
                      <a:r>
                        <a:rPr sz="1000" dirty="0">
                          <a:latin typeface="Calibri"/>
                          <a:cs typeface="Calibri"/>
                        </a:rPr>
                        <a:t>ламинированная</a:t>
                      </a:r>
                    </a:p>
                  </a:txBody>
                  <a:tcPr marL="0" marR="0" marT="0" marB="0">
                    <a:lnL w="28575">
                      <a:solidFill>
                        <a:srgbClr val="C9C3BA"/>
                      </a:solidFill>
                      <a:prstDash val="solid"/>
                    </a:lnL>
                    <a:lnR w="28575">
                      <a:solidFill>
                        <a:srgbClr val="C9C3BA"/>
                      </a:solidFill>
                      <a:prstDash val="solid"/>
                    </a:lnR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800" spc="5" dirty="0">
                          <a:latin typeface="Calibri"/>
                          <a:cs typeface="Calibri"/>
                        </a:rPr>
                        <a:t>d=23см; </a:t>
                      </a:r>
                      <a:r>
                        <a:rPr sz="800" spc="10" dirty="0">
                          <a:latin typeface="Calibri"/>
                          <a:cs typeface="Calibri"/>
                        </a:rPr>
                        <a:t>вес=9гр;    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цена </a:t>
                      </a:r>
                      <a:r>
                        <a:rPr sz="800" b="1" spc="5" dirty="0">
                          <a:latin typeface="Calibri"/>
                          <a:cs typeface="Calibri"/>
                        </a:rPr>
                        <a:t>опт </a:t>
                      </a:r>
                      <a:r>
                        <a:rPr sz="800" b="1" spc="25" dirty="0">
                          <a:latin typeface="Calibri"/>
                          <a:cs typeface="Calibri"/>
                        </a:rPr>
                        <a:t>= </a:t>
                      </a:r>
                      <a:r>
                        <a:rPr sz="800" b="1" spc="40" dirty="0">
                          <a:latin typeface="Calibri"/>
                          <a:cs typeface="Calibri"/>
                        </a:rPr>
                        <a:t>2,40</a:t>
                      </a:r>
                      <a:r>
                        <a:rPr sz="800" b="1" spc="16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b="1" spc="-20" dirty="0">
                          <a:latin typeface="Calibri"/>
                          <a:cs typeface="Calibri"/>
                        </a:rPr>
                        <a:t>руб./шт.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28575">
                      <a:solidFill>
                        <a:srgbClr val="C9C3BA"/>
                      </a:solidFill>
                      <a:prstDash val="solid"/>
                    </a:lnL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539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R w="28575">
                      <a:solidFill>
                        <a:srgbClr val="C9C3BA"/>
                      </a:solidFill>
                      <a:prstDash val="solid"/>
                    </a:lnR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0" marR="9525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00" spc="0" dirty="0">
                          <a:latin typeface="Calibri"/>
                          <a:cs typeface="Calibri"/>
                        </a:rPr>
                        <a:t>Картонная,  </a:t>
                      </a:r>
                      <a:r>
                        <a:rPr sz="1000" dirty="0">
                          <a:latin typeface="Calibri"/>
                          <a:cs typeface="Calibri"/>
                        </a:rPr>
                        <a:t>ламинированная</a:t>
                      </a:r>
                    </a:p>
                  </a:txBody>
                  <a:tcPr marL="0" marR="0" marT="0" marB="0">
                    <a:lnL w="28575">
                      <a:solidFill>
                        <a:srgbClr val="C9C3BA"/>
                      </a:solidFill>
                      <a:prstDash val="solid"/>
                    </a:lnL>
                    <a:lnR w="28575">
                      <a:solidFill>
                        <a:srgbClr val="C9C3BA"/>
                      </a:solidFill>
                      <a:prstDash val="solid"/>
                    </a:lnR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800" spc="5" dirty="0">
                          <a:latin typeface="Calibri"/>
                          <a:cs typeface="Calibri"/>
                        </a:rPr>
                        <a:t>d=18см; </a:t>
                      </a:r>
                      <a:r>
                        <a:rPr sz="800" spc="10" dirty="0">
                          <a:latin typeface="Calibri"/>
                          <a:cs typeface="Calibri"/>
                        </a:rPr>
                        <a:t>вес=5гр;    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цена </a:t>
                      </a:r>
                      <a:r>
                        <a:rPr sz="800" b="1" spc="5" dirty="0">
                          <a:latin typeface="Calibri"/>
                          <a:cs typeface="Calibri"/>
                        </a:rPr>
                        <a:t>опт </a:t>
                      </a:r>
                      <a:r>
                        <a:rPr sz="800" b="1" spc="25" dirty="0">
                          <a:latin typeface="Calibri"/>
                          <a:cs typeface="Calibri"/>
                        </a:rPr>
                        <a:t>= </a:t>
                      </a:r>
                      <a:r>
                        <a:rPr sz="800" b="1" spc="40" dirty="0">
                          <a:latin typeface="Calibri"/>
                          <a:cs typeface="Calibri"/>
                        </a:rPr>
                        <a:t>2,50</a:t>
                      </a:r>
                      <a:r>
                        <a:rPr sz="800" b="1" spc="-1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b="1" spc="-20" dirty="0">
                          <a:latin typeface="Calibri"/>
                          <a:cs typeface="Calibri"/>
                        </a:rPr>
                        <a:t>руб./шт.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marL="50800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spc="5" dirty="0">
                          <a:latin typeface="Calibri"/>
                          <a:cs typeface="Calibri"/>
                        </a:rPr>
                        <a:t>d=23см; </a:t>
                      </a:r>
                      <a:r>
                        <a:rPr sz="800" spc="15" dirty="0">
                          <a:latin typeface="Calibri"/>
                          <a:cs typeface="Calibri"/>
                        </a:rPr>
                        <a:t>вес=10гр; 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цена </a:t>
                      </a:r>
                      <a:r>
                        <a:rPr sz="800" b="1" spc="5" dirty="0">
                          <a:latin typeface="Calibri"/>
                          <a:cs typeface="Calibri"/>
                        </a:rPr>
                        <a:t>опт </a:t>
                      </a:r>
                      <a:r>
                        <a:rPr sz="800" b="1" spc="25" dirty="0">
                          <a:latin typeface="Calibri"/>
                          <a:cs typeface="Calibri"/>
                        </a:rPr>
                        <a:t>= </a:t>
                      </a:r>
                      <a:r>
                        <a:rPr sz="800" b="1" spc="40" dirty="0">
                          <a:latin typeface="Calibri"/>
                          <a:cs typeface="Calibri"/>
                        </a:rPr>
                        <a:t>3,50  </a:t>
                      </a:r>
                      <a:r>
                        <a:rPr sz="800" b="1" spc="-20" dirty="0">
                          <a:latin typeface="Calibri"/>
                          <a:cs typeface="Calibri"/>
                        </a:rPr>
                        <a:t>руб./шт.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28575">
                      <a:solidFill>
                        <a:srgbClr val="C9C3BA"/>
                      </a:solidFill>
                      <a:prstDash val="solid"/>
                    </a:lnL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0204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R w="28575">
                      <a:solidFill>
                        <a:srgbClr val="C9C3BA"/>
                      </a:solidFill>
                      <a:prstDash val="solid"/>
                    </a:lnR>
                    <a:lnT w="28575">
                      <a:solidFill>
                        <a:srgbClr val="C9C3BA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sz="900" dirty="0">
                        <a:latin typeface="Times New Roman"/>
                        <a:cs typeface="Times New Roman"/>
                      </a:endParaRPr>
                    </a:p>
                    <a:p>
                      <a:pPr marL="0" marR="16510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Полистирол,  </a:t>
                      </a:r>
                      <a:r>
                        <a:rPr sz="1000" spc="0" dirty="0">
                          <a:latin typeface="Calibri"/>
                          <a:cs typeface="Calibri"/>
                        </a:rPr>
                        <a:t>серия</a:t>
                      </a:r>
                      <a:r>
                        <a:rPr sz="10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5" dirty="0">
                          <a:latin typeface="Calibri"/>
                          <a:cs typeface="Calibri"/>
                        </a:rPr>
                        <a:t>премиум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28575">
                      <a:solidFill>
                        <a:srgbClr val="C9C3BA"/>
                      </a:solidFill>
                      <a:prstDash val="solid"/>
                    </a:lnL>
                    <a:lnR w="28575">
                      <a:solidFill>
                        <a:srgbClr val="C9C3BA"/>
                      </a:solidFill>
                      <a:prstDash val="solid"/>
                    </a:lnR>
                    <a:lnT w="28575">
                      <a:solidFill>
                        <a:srgbClr val="C9C3BA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400" dirty="0">
                        <a:latin typeface="Times New Roman"/>
                        <a:cs typeface="Times New Roman"/>
                      </a:endParaRPr>
                    </a:p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800" spc="5" dirty="0">
                          <a:latin typeface="Calibri"/>
                          <a:cs typeface="Calibri"/>
                        </a:rPr>
                        <a:t>d=19см; </a:t>
                      </a:r>
                      <a:r>
                        <a:rPr sz="800" spc="15" dirty="0">
                          <a:latin typeface="Calibri"/>
                          <a:cs typeface="Calibri"/>
                        </a:rPr>
                        <a:t>вес=30гр; 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цена </a:t>
                      </a:r>
                      <a:r>
                        <a:rPr sz="800" b="1" spc="5" dirty="0">
                          <a:latin typeface="Calibri"/>
                          <a:cs typeface="Calibri"/>
                        </a:rPr>
                        <a:t>опт </a:t>
                      </a:r>
                      <a:r>
                        <a:rPr sz="800" b="1" spc="25" dirty="0">
                          <a:latin typeface="Calibri"/>
                          <a:cs typeface="Calibri"/>
                        </a:rPr>
                        <a:t>= </a:t>
                      </a:r>
                      <a:r>
                        <a:rPr sz="800" b="1" spc="65" dirty="0">
                          <a:latin typeface="Calibri"/>
                          <a:cs typeface="Calibri"/>
                        </a:rPr>
                        <a:t>12</a:t>
                      </a:r>
                      <a:r>
                        <a:rPr sz="800" b="1" spc="6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b="1" spc="-20" dirty="0">
                          <a:latin typeface="Calibri"/>
                          <a:cs typeface="Calibri"/>
                        </a:rPr>
                        <a:t>руб./шт.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  <a:p>
                      <a:pPr marL="50800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spc="5" dirty="0">
                          <a:latin typeface="Calibri"/>
                          <a:cs typeface="Calibri"/>
                        </a:rPr>
                        <a:t>d=23см; </a:t>
                      </a:r>
                      <a:r>
                        <a:rPr sz="800" spc="15" dirty="0">
                          <a:latin typeface="Calibri"/>
                          <a:cs typeface="Calibri"/>
                        </a:rPr>
                        <a:t>вес=36гр; 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цена </a:t>
                      </a:r>
                      <a:r>
                        <a:rPr sz="800" b="1" spc="5" dirty="0">
                          <a:latin typeface="Calibri"/>
                          <a:cs typeface="Calibri"/>
                        </a:rPr>
                        <a:t>опт </a:t>
                      </a:r>
                      <a:r>
                        <a:rPr sz="800" b="1" spc="25" dirty="0">
                          <a:latin typeface="Calibri"/>
                          <a:cs typeface="Calibri"/>
                        </a:rPr>
                        <a:t>= </a:t>
                      </a:r>
                      <a:r>
                        <a:rPr sz="800" b="1" spc="65" dirty="0">
                          <a:latin typeface="Calibri"/>
                          <a:cs typeface="Calibri"/>
                        </a:rPr>
                        <a:t>18</a:t>
                      </a:r>
                      <a:r>
                        <a:rPr sz="800" b="1" spc="6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b="1" spc="-20" dirty="0">
                          <a:latin typeface="Calibri"/>
                          <a:cs typeface="Calibri"/>
                        </a:rPr>
                        <a:t>руб./шт.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28575">
                      <a:solidFill>
                        <a:srgbClr val="C9C3BA"/>
                      </a:solidFill>
                      <a:prstDash val="solid"/>
                    </a:lnL>
                    <a:lnT w="28575">
                      <a:solidFill>
                        <a:srgbClr val="C9C3BA"/>
                      </a:solidFill>
                      <a:prstDash val="soli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object 4"/>
          <p:cNvSpPr/>
          <p:nvPr/>
        </p:nvSpPr>
        <p:spPr>
          <a:xfrm>
            <a:off x="2079212" y="3478536"/>
            <a:ext cx="741164" cy="74116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64291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66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721914" y="1016918"/>
            <a:ext cx="1223367" cy="59828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64291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1961555" y="2661047"/>
            <a:ext cx="901898" cy="63400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64291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936337" y="5197923"/>
            <a:ext cx="1026914" cy="64293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64291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1918367" y="1696641"/>
            <a:ext cx="1026914" cy="80367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64291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1990792" y="4308079"/>
            <a:ext cx="848320" cy="75009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64291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7630876" y="846535"/>
            <a:ext cx="1862114" cy="148232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64291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971234" y="2328863"/>
            <a:ext cx="1181398" cy="522427"/>
          </a:xfrm>
          <a:prstGeom prst="rect">
            <a:avLst/>
          </a:prstGeom>
        </p:spPr>
        <p:txBody>
          <a:bodyPr vert="horz" wrap="square" lIns="0" tIns="8930" rIns="0" bIns="0" rtlCol="0">
            <a:spAutoFit/>
          </a:bodyPr>
          <a:lstStyle/>
          <a:p>
            <a:pPr marL="8929" marR="3572" lvl="0" indent="122332" algn="l" defTabSz="642915" rtl="0" eaLnBrk="0" fontAlgn="auto" latinLnBrk="0" hangingPunct="0">
              <a:lnSpc>
                <a:spcPct val="113100"/>
              </a:lnSpc>
              <a:spcBef>
                <a:spcPts val="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84" b="1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арелки </a:t>
            </a:r>
            <a:r>
              <a:rPr kumimoji="0" sz="984" b="1" i="0" u="none" strike="noStrike" kern="1200" cap="none" spc="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ICNECO  </a:t>
            </a:r>
            <a:r>
              <a:rPr kumimoji="0" sz="984" b="0" i="0" u="none" strike="noStrike" kern="1200" cap="none" spc="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 </a:t>
            </a:r>
            <a:r>
              <a:rPr kumimoji="0" sz="98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= </a:t>
            </a:r>
            <a:r>
              <a:rPr kumimoji="0" sz="984" b="0" i="0" u="none" strike="noStrike" kern="1200" cap="none" spc="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8 </a:t>
            </a:r>
            <a:r>
              <a:rPr kumimoji="0" sz="984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м; </a:t>
            </a:r>
            <a:r>
              <a:rPr kumimoji="0" sz="984" b="0" i="0" u="none" strike="noStrike" kern="1200" cap="none" spc="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ес </a:t>
            </a:r>
            <a:r>
              <a:rPr kumimoji="0" sz="98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= </a:t>
            </a:r>
            <a:r>
              <a:rPr kumimoji="0" sz="984" b="0" i="0" u="none" strike="noStrike" kern="1200" cap="none" spc="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0 </a:t>
            </a:r>
            <a:r>
              <a:rPr kumimoji="0" sz="984" b="0" i="0" u="none" strike="noStrike" kern="1200" cap="none" spc="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гр  </a:t>
            </a:r>
            <a:r>
              <a:rPr kumimoji="0" sz="984" b="0" i="0" u="none" strike="noStrike" kern="1200" cap="none" spc="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 </a:t>
            </a:r>
            <a:r>
              <a:rPr kumimoji="0" sz="98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= </a:t>
            </a:r>
            <a:r>
              <a:rPr kumimoji="0" sz="984" b="0" i="0" u="none" strike="noStrike" kern="1200" cap="none" spc="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3 </a:t>
            </a:r>
            <a:r>
              <a:rPr kumimoji="0" sz="984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м; </a:t>
            </a:r>
            <a:r>
              <a:rPr kumimoji="0" sz="984" b="0" i="0" u="none" strike="noStrike" kern="1200" cap="none" spc="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ес </a:t>
            </a:r>
            <a:r>
              <a:rPr kumimoji="0" sz="98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= </a:t>
            </a:r>
            <a:r>
              <a:rPr kumimoji="0" sz="984" b="0" i="0" u="none" strike="noStrike" kern="1200" cap="none" spc="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5</a:t>
            </a:r>
            <a:r>
              <a:rPr kumimoji="0" sz="984" b="0" i="0" u="none" strike="noStrike" kern="1200" cap="none" spc="16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84" b="0" i="0" u="none" strike="noStrike" kern="1200" cap="none" spc="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гр</a:t>
            </a:r>
            <a:endParaRPr kumimoji="0" sz="98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graphicFrame>
        <p:nvGraphicFramePr>
          <p:cNvPr id="12" name="object 12"/>
          <p:cNvGraphicFramePr>
            <a:graphicFrameLocks noGrp="1"/>
          </p:cNvGraphicFramePr>
          <p:nvPr/>
        </p:nvGraphicFramePr>
        <p:xfrm>
          <a:off x="6837164" y="2937868"/>
          <a:ext cx="4155380" cy="3211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83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391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39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3396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4892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R w="28575">
                      <a:solidFill>
                        <a:srgbClr val="C9C3BA"/>
                      </a:solidFill>
                      <a:prstDash val="solid"/>
                    </a:lnR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111760">
                        <a:lnSpc>
                          <a:spcPct val="100000"/>
                        </a:lnSpc>
                      </a:pPr>
                      <a:r>
                        <a:rPr sz="900" b="1" spc="-5" dirty="0">
                          <a:latin typeface="Calibri"/>
                          <a:cs typeface="Calibri"/>
                        </a:rPr>
                        <a:t>себестоимость</a:t>
                      </a:r>
                      <a:endParaRPr sz="900">
                        <a:latin typeface="Calibri"/>
                        <a:cs typeface="Calibri"/>
                      </a:endParaRPr>
                    </a:p>
                  </a:txBody>
                  <a:tcPr marL="0" marR="0" marT="2679" marB="0">
                    <a:lnL w="28575">
                      <a:solidFill>
                        <a:srgbClr val="C9C3BA"/>
                      </a:solidFill>
                      <a:prstDash val="solid"/>
                    </a:lnL>
                    <a:lnR w="28575">
                      <a:solidFill>
                        <a:srgbClr val="C9C3BA"/>
                      </a:solidFill>
                      <a:prstDash val="solid"/>
                    </a:lnR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900" b="1" spc="-5" dirty="0">
                          <a:latin typeface="Calibri"/>
                          <a:cs typeface="Calibri"/>
                        </a:rPr>
                        <a:t>наценка</a:t>
                      </a:r>
                      <a:endParaRPr sz="900">
                        <a:latin typeface="Calibri"/>
                        <a:cs typeface="Calibri"/>
                      </a:endParaRPr>
                    </a:p>
                  </a:txBody>
                  <a:tcPr marL="0" marR="0" marT="2679" marB="0">
                    <a:lnL w="28575">
                      <a:solidFill>
                        <a:srgbClr val="C9C3BA"/>
                      </a:solidFill>
                      <a:prstDash val="solid"/>
                    </a:lnL>
                    <a:lnR w="28575">
                      <a:solidFill>
                        <a:srgbClr val="C9C3BA"/>
                      </a:solidFill>
                      <a:prstDash val="solid"/>
                    </a:lnR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372745">
                        <a:lnSpc>
                          <a:spcPct val="100000"/>
                        </a:lnSpc>
                      </a:pPr>
                      <a:r>
                        <a:rPr sz="900" b="1" spc="-5" dirty="0">
                          <a:latin typeface="Calibri"/>
                          <a:cs typeface="Calibri"/>
                        </a:rPr>
                        <a:t>цена</a:t>
                      </a:r>
                      <a:r>
                        <a:rPr sz="900" b="1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5" dirty="0">
                          <a:latin typeface="Calibri"/>
                          <a:cs typeface="Calibri"/>
                        </a:rPr>
                        <a:t>опт</a:t>
                      </a:r>
                      <a:endParaRPr sz="900">
                        <a:latin typeface="Calibri"/>
                        <a:cs typeface="Calibri"/>
                      </a:endParaRPr>
                    </a:p>
                  </a:txBody>
                  <a:tcPr marL="0" marR="0" marT="2679" marB="0">
                    <a:lnL w="28575">
                      <a:solidFill>
                        <a:srgbClr val="C9C3BA"/>
                      </a:solidFill>
                      <a:prstDash val="solid"/>
                    </a:lnL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77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900" dirty="0">
                        <a:latin typeface="Times New Roman"/>
                        <a:cs typeface="Times New Roman"/>
                      </a:endParaRPr>
                    </a:p>
                    <a:p>
                      <a:pPr marL="76200">
                        <a:lnSpc>
                          <a:spcPct val="100000"/>
                        </a:lnSpc>
                      </a:pPr>
                      <a:r>
                        <a:rPr sz="900" b="1" spc="-10" dirty="0">
                          <a:latin typeface="Calibri"/>
                          <a:cs typeface="Calibri"/>
                        </a:rPr>
                        <a:t>импорт </a:t>
                      </a:r>
                      <a:r>
                        <a:rPr sz="900" b="1" spc="-5" dirty="0">
                          <a:latin typeface="Calibri"/>
                          <a:cs typeface="Calibri"/>
                        </a:rPr>
                        <a:t>из</a:t>
                      </a:r>
                      <a:r>
                        <a:rPr sz="900" b="1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10" dirty="0">
                          <a:latin typeface="Calibri"/>
                          <a:cs typeface="Calibri"/>
                        </a:rPr>
                        <a:t>Китая</a:t>
                      </a:r>
                      <a:endParaRPr sz="900" dirty="0">
                        <a:latin typeface="Calibri"/>
                        <a:cs typeface="Calibri"/>
                      </a:endParaRPr>
                    </a:p>
                  </a:txBody>
                  <a:tcPr marL="0" marR="0" marT="2232" marB="0">
                    <a:lnR w="28575">
                      <a:solidFill>
                        <a:srgbClr val="C9C3BA"/>
                      </a:solidFill>
                      <a:prstDash val="solid"/>
                    </a:lnR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0960" marR="52069">
                        <a:lnSpc>
                          <a:spcPct val="104200"/>
                        </a:lnSpc>
                        <a:spcBef>
                          <a:spcPts val="1220"/>
                        </a:spcBef>
                      </a:pPr>
                      <a:r>
                        <a:rPr sz="900" spc="15" dirty="0">
                          <a:latin typeface="Calibri"/>
                          <a:cs typeface="Calibri"/>
                        </a:rPr>
                        <a:t>18см </a:t>
                      </a:r>
                      <a:r>
                        <a:rPr sz="900" spc="0" dirty="0">
                          <a:latin typeface="Calibri"/>
                          <a:cs typeface="Calibri"/>
                        </a:rPr>
                        <a:t>= </a:t>
                      </a:r>
                      <a:r>
                        <a:rPr sz="900" spc="10" dirty="0">
                          <a:latin typeface="Calibri"/>
                          <a:cs typeface="Calibri"/>
                        </a:rPr>
                        <a:t>2,60 </a:t>
                      </a:r>
                      <a:r>
                        <a:rPr sz="900" spc="-10" dirty="0">
                          <a:latin typeface="Calibri"/>
                          <a:cs typeface="Calibri"/>
                        </a:rPr>
                        <a:t>руб.  </a:t>
                      </a:r>
                      <a:r>
                        <a:rPr sz="900" spc="15" dirty="0">
                          <a:latin typeface="Calibri"/>
                          <a:cs typeface="Calibri"/>
                        </a:rPr>
                        <a:t>23см </a:t>
                      </a:r>
                      <a:r>
                        <a:rPr sz="900" spc="0" dirty="0">
                          <a:latin typeface="Calibri"/>
                          <a:cs typeface="Calibri"/>
                        </a:rPr>
                        <a:t>= </a:t>
                      </a:r>
                      <a:r>
                        <a:rPr sz="900" spc="10" dirty="0">
                          <a:latin typeface="Calibri"/>
                          <a:cs typeface="Calibri"/>
                        </a:rPr>
                        <a:t>4,15</a:t>
                      </a:r>
                      <a:r>
                        <a:rPr sz="900" spc="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spc="-10" dirty="0">
                          <a:latin typeface="Calibri"/>
                          <a:cs typeface="Calibri"/>
                        </a:rPr>
                        <a:t>руб.</a:t>
                      </a:r>
                      <a:endParaRPr sz="900">
                        <a:latin typeface="Calibri"/>
                        <a:cs typeface="Calibri"/>
                      </a:endParaRPr>
                    </a:p>
                  </a:txBody>
                  <a:tcPr marL="0" marR="0" marT="108942" marB="0">
                    <a:lnL w="28575">
                      <a:solidFill>
                        <a:srgbClr val="C9C3BA"/>
                      </a:solidFill>
                      <a:prstDash val="solid"/>
                    </a:lnL>
                    <a:lnR w="28575">
                      <a:solidFill>
                        <a:srgbClr val="C9C3BA"/>
                      </a:solidFill>
                      <a:prstDash val="solid"/>
                    </a:lnR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900" spc="40" dirty="0">
                          <a:latin typeface="Calibri"/>
                          <a:cs typeface="Calibri"/>
                        </a:rPr>
                        <a:t>63</a:t>
                      </a:r>
                      <a:r>
                        <a:rPr sz="9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spc="60" dirty="0">
                          <a:latin typeface="Calibri"/>
                          <a:cs typeface="Calibri"/>
                        </a:rPr>
                        <a:t>%</a:t>
                      </a:r>
                      <a:endParaRPr sz="900">
                        <a:latin typeface="Calibri"/>
                        <a:cs typeface="Calibri"/>
                      </a:endParaRPr>
                    </a:p>
                  </a:txBody>
                  <a:tcPr marL="0" marR="0" marT="2232" marB="0">
                    <a:lnL w="28575">
                      <a:solidFill>
                        <a:srgbClr val="C9C3BA"/>
                      </a:solidFill>
                      <a:prstDash val="solid"/>
                    </a:lnL>
                    <a:lnR w="28575">
                      <a:solidFill>
                        <a:srgbClr val="C9C3BA"/>
                      </a:solidFill>
                      <a:prstDash val="solid"/>
                    </a:lnR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06045" marR="93980" indent="12700">
                        <a:lnSpc>
                          <a:spcPct val="104200"/>
                        </a:lnSpc>
                        <a:spcBef>
                          <a:spcPts val="1220"/>
                        </a:spcBef>
                      </a:pPr>
                      <a:r>
                        <a:rPr sz="900" b="1" spc="25" dirty="0">
                          <a:latin typeface="Calibri"/>
                          <a:cs typeface="Calibri"/>
                        </a:rPr>
                        <a:t>18см = </a:t>
                      </a:r>
                      <a:r>
                        <a:rPr sz="900" b="1" spc="40" dirty="0">
                          <a:latin typeface="Calibri"/>
                          <a:cs typeface="Calibri"/>
                        </a:rPr>
                        <a:t>4,28</a:t>
                      </a:r>
                      <a:r>
                        <a:rPr sz="900" b="1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руб.  </a:t>
                      </a:r>
                      <a:r>
                        <a:rPr sz="900" b="1" spc="25" dirty="0">
                          <a:latin typeface="Calibri"/>
                          <a:cs typeface="Calibri"/>
                        </a:rPr>
                        <a:t>23см = </a:t>
                      </a:r>
                      <a:r>
                        <a:rPr sz="900" b="1" spc="40" dirty="0">
                          <a:latin typeface="Calibri"/>
                          <a:cs typeface="Calibri"/>
                        </a:rPr>
                        <a:t>6,75</a:t>
                      </a:r>
                      <a:r>
                        <a:rPr sz="900" b="1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руб.</a:t>
                      </a:r>
                      <a:endParaRPr sz="900" dirty="0">
                        <a:latin typeface="Calibri"/>
                        <a:cs typeface="Calibri"/>
                      </a:endParaRPr>
                    </a:p>
                  </a:txBody>
                  <a:tcPr marL="0" marR="0" marT="108942" marB="0">
                    <a:lnL w="28575">
                      <a:solidFill>
                        <a:srgbClr val="C9C3BA"/>
                      </a:solidFill>
                      <a:prstDash val="solid"/>
                    </a:lnL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93683">
                <a:tc>
                  <a:txBody>
                    <a:bodyPr/>
                    <a:lstStyle/>
                    <a:p>
                      <a:pPr marL="0" marR="22606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900" b="1" dirty="0">
                          <a:latin typeface="Calibri"/>
                          <a:cs typeface="Calibri"/>
                        </a:rPr>
                        <a:t>сырье </a:t>
                      </a:r>
                      <a:r>
                        <a:rPr sz="900" b="1" spc="-5" dirty="0">
                          <a:latin typeface="Calibri"/>
                          <a:cs typeface="Calibri"/>
                        </a:rPr>
                        <a:t>из  </a:t>
                      </a:r>
                      <a:r>
                        <a:rPr sz="900" b="1" dirty="0">
                          <a:latin typeface="Calibri"/>
                          <a:cs typeface="Calibri"/>
                        </a:rPr>
                        <a:t>импо</a:t>
                      </a:r>
                      <a:r>
                        <a:rPr sz="900" b="1" spc="-10" dirty="0">
                          <a:latin typeface="Calibri"/>
                          <a:cs typeface="Calibri"/>
                        </a:rPr>
                        <a:t>р</a:t>
                      </a:r>
                      <a:r>
                        <a:rPr sz="900" b="1" dirty="0">
                          <a:latin typeface="Calibri"/>
                          <a:cs typeface="Calibri"/>
                        </a:rPr>
                        <a:t>тно</a:t>
                      </a:r>
                      <a:r>
                        <a:rPr sz="900" b="1" spc="-10" dirty="0">
                          <a:latin typeface="Calibri"/>
                          <a:cs typeface="Calibri"/>
                        </a:rPr>
                        <a:t>г</a:t>
                      </a:r>
                      <a:r>
                        <a:rPr sz="900" b="1" dirty="0">
                          <a:latin typeface="Calibri"/>
                          <a:cs typeface="Calibri"/>
                        </a:rPr>
                        <a:t>о  </a:t>
                      </a:r>
                      <a:r>
                        <a:rPr sz="900" b="1" spc="5" dirty="0">
                          <a:latin typeface="Calibri"/>
                          <a:cs typeface="Calibri"/>
                        </a:rPr>
                        <a:t>сахарного  </a:t>
                      </a:r>
                      <a:r>
                        <a:rPr sz="900" b="1" spc="0" dirty="0">
                          <a:latin typeface="Calibri"/>
                          <a:cs typeface="Calibri"/>
                        </a:rPr>
                        <a:t>тростника</a:t>
                      </a:r>
                      <a:endParaRPr sz="900" dirty="0">
                        <a:latin typeface="Calibri"/>
                        <a:cs typeface="Calibri"/>
                      </a:endParaRPr>
                    </a:p>
                  </a:txBody>
                  <a:tcPr marL="0" marR="0" marT="10268" marB="0">
                    <a:lnR w="28575">
                      <a:solidFill>
                        <a:srgbClr val="C9C3BA"/>
                      </a:solidFill>
                      <a:prstDash val="solid"/>
                    </a:lnR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60960" marR="52069">
                        <a:lnSpc>
                          <a:spcPct val="104200"/>
                        </a:lnSpc>
                      </a:pPr>
                      <a:r>
                        <a:rPr sz="900" spc="15" dirty="0">
                          <a:latin typeface="Calibri"/>
                          <a:cs typeface="Calibri"/>
                        </a:rPr>
                        <a:t>18см </a:t>
                      </a:r>
                      <a:r>
                        <a:rPr sz="900" spc="0" dirty="0">
                          <a:latin typeface="Calibri"/>
                          <a:cs typeface="Calibri"/>
                        </a:rPr>
                        <a:t>= </a:t>
                      </a:r>
                      <a:r>
                        <a:rPr sz="900" spc="10" dirty="0">
                          <a:latin typeface="Calibri"/>
                          <a:cs typeface="Calibri"/>
                        </a:rPr>
                        <a:t>1,35 </a:t>
                      </a:r>
                      <a:r>
                        <a:rPr sz="900" spc="-10" dirty="0">
                          <a:latin typeface="Calibri"/>
                          <a:cs typeface="Calibri"/>
                        </a:rPr>
                        <a:t>руб.  </a:t>
                      </a:r>
                      <a:r>
                        <a:rPr sz="900" spc="15" dirty="0">
                          <a:latin typeface="Calibri"/>
                          <a:cs typeface="Calibri"/>
                        </a:rPr>
                        <a:t>23см </a:t>
                      </a:r>
                      <a:r>
                        <a:rPr sz="900" spc="0" dirty="0">
                          <a:latin typeface="Calibri"/>
                          <a:cs typeface="Calibri"/>
                        </a:rPr>
                        <a:t>= </a:t>
                      </a:r>
                      <a:r>
                        <a:rPr sz="900" spc="10" dirty="0">
                          <a:latin typeface="Calibri"/>
                          <a:cs typeface="Calibri"/>
                        </a:rPr>
                        <a:t>2,00</a:t>
                      </a:r>
                      <a:r>
                        <a:rPr sz="900" spc="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spc="-10" dirty="0">
                          <a:latin typeface="Calibri"/>
                          <a:cs typeface="Calibri"/>
                        </a:rPr>
                        <a:t>руб.</a:t>
                      </a:r>
                      <a:endParaRPr sz="900">
                        <a:latin typeface="Calibri"/>
                        <a:cs typeface="Calibri"/>
                      </a:endParaRPr>
                    </a:p>
                  </a:txBody>
                  <a:tcPr marL="0" marR="0" marT="3125" marB="0">
                    <a:lnL w="28575">
                      <a:solidFill>
                        <a:srgbClr val="C9C3BA"/>
                      </a:solidFill>
                      <a:prstDash val="solid"/>
                    </a:lnL>
                    <a:lnR w="28575">
                      <a:solidFill>
                        <a:srgbClr val="C9C3BA"/>
                      </a:solidFill>
                      <a:prstDash val="solid"/>
                    </a:lnR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900" spc="40" dirty="0">
                          <a:latin typeface="Calibri"/>
                          <a:cs typeface="Calibri"/>
                        </a:rPr>
                        <a:t>150</a:t>
                      </a:r>
                      <a:r>
                        <a:rPr sz="9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spc="60" dirty="0">
                          <a:latin typeface="Calibri"/>
                          <a:cs typeface="Calibri"/>
                        </a:rPr>
                        <a:t>%</a:t>
                      </a:r>
                      <a:endParaRPr sz="900">
                        <a:latin typeface="Calibri"/>
                        <a:cs typeface="Calibri"/>
                      </a:endParaRPr>
                    </a:p>
                  </a:txBody>
                  <a:tcPr marL="0" marR="0" marT="2679" marB="0">
                    <a:lnL w="28575">
                      <a:solidFill>
                        <a:srgbClr val="C9C3BA"/>
                      </a:solidFill>
                      <a:prstDash val="solid"/>
                    </a:lnL>
                    <a:lnR w="28575">
                      <a:solidFill>
                        <a:srgbClr val="C9C3BA"/>
                      </a:solidFill>
                      <a:prstDash val="solid"/>
                    </a:lnR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106045" marR="93980" indent="12700">
                        <a:lnSpc>
                          <a:spcPct val="104200"/>
                        </a:lnSpc>
                      </a:pPr>
                      <a:r>
                        <a:rPr sz="900" b="1" spc="25" dirty="0">
                          <a:latin typeface="Calibri"/>
                          <a:cs typeface="Calibri"/>
                        </a:rPr>
                        <a:t>18см = </a:t>
                      </a:r>
                      <a:r>
                        <a:rPr sz="900" b="1" spc="40" dirty="0">
                          <a:latin typeface="Calibri"/>
                          <a:cs typeface="Calibri"/>
                        </a:rPr>
                        <a:t>3,40</a:t>
                      </a:r>
                      <a:r>
                        <a:rPr sz="900" b="1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руб.  </a:t>
                      </a:r>
                      <a:r>
                        <a:rPr sz="900" b="1" spc="25" dirty="0">
                          <a:latin typeface="Calibri"/>
                          <a:cs typeface="Calibri"/>
                        </a:rPr>
                        <a:t>23см = </a:t>
                      </a:r>
                      <a:r>
                        <a:rPr sz="900" b="1" spc="40" dirty="0">
                          <a:latin typeface="Calibri"/>
                          <a:cs typeface="Calibri"/>
                        </a:rPr>
                        <a:t>5,00</a:t>
                      </a:r>
                      <a:r>
                        <a:rPr sz="900" b="1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руб.</a:t>
                      </a:r>
                      <a:endParaRPr sz="900">
                        <a:latin typeface="Calibri"/>
                        <a:cs typeface="Calibri"/>
                      </a:endParaRPr>
                    </a:p>
                  </a:txBody>
                  <a:tcPr marL="0" marR="0" marT="3125" marB="0">
                    <a:lnL w="28575">
                      <a:solidFill>
                        <a:srgbClr val="C9C3BA"/>
                      </a:solidFill>
                      <a:prstDash val="solid"/>
                    </a:lnL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81799">
                <a:tc>
                  <a:txBody>
                    <a:bodyPr/>
                    <a:lstStyle/>
                    <a:p>
                      <a:pPr marL="0" marR="12446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900" b="1" dirty="0">
                          <a:latin typeface="Calibri"/>
                          <a:cs typeface="Calibri"/>
                        </a:rPr>
                        <a:t>сырье </a:t>
                      </a:r>
                      <a:r>
                        <a:rPr sz="900" b="1" spc="-5" dirty="0">
                          <a:latin typeface="Calibri"/>
                          <a:cs typeface="Calibri"/>
                        </a:rPr>
                        <a:t>из  сульфатной  </a:t>
                      </a:r>
                      <a:r>
                        <a:rPr sz="900" b="1" spc="-10" dirty="0">
                          <a:latin typeface="Calibri"/>
                          <a:cs typeface="Calibri"/>
                        </a:rPr>
                        <a:t>целлюлозы</a:t>
                      </a:r>
                      <a:r>
                        <a:rPr sz="900" b="1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55" dirty="0">
                          <a:latin typeface="Calibri"/>
                          <a:cs typeface="Calibri"/>
                        </a:rPr>
                        <a:t>РФ</a:t>
                      </a:r>
                      <a:endParaRPr sz="900" dirty="0">
                        <a:latin typeface="Calibri"/>
                        <a:cs typeface="Calibri"/>
                      </a:endParaRPr>
                    </a:p>
                  </a:txBody>
                  <a:tcPr marL="0" marR="0" marT="19199" marB="0">
                    <a:lnR w="28575">
                      <a:solidFill>
                        <a:srgbClr val="C9C3BA"/>
                      </a:solidFill>
                      <a:prstDash val="solid"/>
                    </a:lnR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0960" marR="52069">
                        <a:lnSpc>
                          <a:spcPct val="104200"/>
                        </a:lnSpc>
                        <a:spcBef>
                          <a:spcPts val="915"/>
                        </a:spcBef>
                      </a:pPr>
                      <a:r>
                        <a:rPr sz="900" spc="15" dirty="0">
                          <a:latin typeface="Calibri"/>
                          <a:cs typeface="Calibri"/>
                        </a:rPr>
                        <a:t>18см </a:t>
                      </a:r>
                      <a:r>
                        <a:rPr sz="900" spc="0" dirty="0">
                          <a:latin typeface="Calibri"/>
                          <a:cs typeface="Calibri"/>
                        </a:rPr>
                        <a:t>= </a:t>
                      </a:r>
                      <a:r>
                        <a:rPr sz="900" spc="10" dirty="0">
                          <a:latin typeface="Calibri"/>
                          <a:cs typeface="Calibri"/>
                        </a:rPr>
                        <a:t>0,91 </a:t>
                      </a:r>
                      <a:r>
                        <a:rPr sz="900" spc="-10" dirty="0">
                          <a:latin typeface="Calibri"/>
                          <a:cs typeface="Calibri"/>
                        </a:rPr>
                        <a:t>руб.  </a:t>
                      </a:r>
                      <a:r>
                        <a:rPr sz="900" spc="15" dirty="0">
                          <a:latin typeface="Calibri"/>
                          <a:cs typeface="Calibri"/>
                        </a:rPr>
                        <a:t>23см </a:t>
                      </a:r>
                      <a:r>
                        <a:rPr sz="900" spc="0" dirty="0">
                          <a:latin typeface="Calibri"/>
                          <a:cs typeface="Calibri"/>
                        </a:rPr>
                        <a:t>= </a:t>
                      </a:r>
                      <a:r>
                        <a:rPr sz="900" spc="10" dirty="0">
                          <a:latin typeface="Calibri"/>
                          <a:cs typeface="Calibri"/>
                        </a:rPr>
                        <a:t>1,37</a:t>
                      </a:r>
                      <a:r>
                        <a:rPr sz="9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spc="-10" dirty="0">
                          <a:latin typeface="Calibri"/>
                          <a:cs typeface="Calibri"/>
                        </a:rPr>
                        <a:t>руб.</a:t>
                      </a:r>
                      <a:endParaRPr sz="900" dirty="0">
                        <a:latin typeface="Calibri"/>
                        <a:cs typeface="Calibri"/>
                      </a:endParaRPr>
                    </a:p>
                  </a:txBody>
                  <a:tcPr marL="0" marR="0" marT="81707" marB="0">
                    <a:lnL w="28575">
                      <a:solidFill>
                        <a:srgbClr val="C9C3BA"/>
                      </a:solidFill>
                      <a:prstDash val="solid"/>
                    </a:lnL>
                    <a:lnR w="28575">
                      <a:solidFill>
                        <a:srgbClr val="C9C3BA"/>
                      </a:solidFill>
                      <a:prstDash val="solid"/>
                    </a:lnR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900" dirty="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900" spc="40" dirty="0">
                          <a:latin typeface="Calibri"/>
                          <a:cs typeface="Calibri"/>
                        </a:rPr>
                        <a:t>250</a:t>
                      </a:r>
                      <a:r>
                        <a:rPr sz="9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spc="60" dirty="0">
                          <a:latin typeface="Calibri"/>
                          <a:cs typeface="Calibri"/>
                        </a:rPr>
                        <a:t>%</a:t>
                      </a:r>
                      <a:endParaRPr sz="900" dirty="0">
                        <a:latin typeface="Calibri"/>
                        <a:cs typeface="Calibri"/>
                      </a:endParaRPr>
                    </a:p>
                  </a:txBody>
                  <a:tcPr marL="0" marR="0" marT="4465" marB="0">
                    <a:lnL w="28575">
                      <a:solidFill>
                        <a:srgbClr val="C9C3BA"/>
                      </a:solidFill>
                      <a:prstDash val="solid"/>
                    </a:lnL>
                    <a:lnR w="28575">
                      <a:solidFill>
                        <a:srgbClr val="C9C3BA"/>
                      </a:solidFill>
                      <a:prstDash val="solid"/>
                    </a:lnR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18745" marR="93980">
                        <a:lnSpc>
                          <a:spcPct val="104200"/>
                        </a:lnSpc>
                        <a:spcBef>
                          <a:spcPts val="915"/>
                        </a:spcBef>
                      </a:pPr>
                      <a:r>
                        <a:rPr sz="900" b="1" spc="25" dirty="0">
                          <a:latin typeface="Calibri"/>
                          <a:cs typeface="Calibri"/>
                        </a:rPr>
                        <a:t>18см = </a:t>
                      </a:r>
                      <a:r>
                        <a:rPr sz="900" b="1" spc="40" dirty="0">
                          <a:latin typeface="Calibri"/>
                          <a:cs typeface="Calibri"/>
                        </a:rPr>
                        <a:t>3,20</a:t>
                      </a:r>
                      <a:r>
                        <a:rPr sz="900" b="1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руб.  </a:t>
                      </a:r>
                      <a:r>
                        <a:rPr sz="900" b="1" spc="25" dirty="0">
                          <a:latin typeface="Calibri"/>
                          <a:cs typeface="Calibri"/>
                        </a:rPr>
                        <a:t>23см = </a:t>
                      </a:r>
                      <a:r>
                        <a:rPr sz="900" b="1" spc="40" dirty="0">
                          <a:latin typeface="Calibri"/>
                          <a:cs typeface="Calibri"/>
                        </a:rPr>
                        <a:t>4,80</a:t>
                      </a:r>
                      <a:r>
                        <a:rPr sz="900" b="1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руб.</a:t>
                      </a:r>
                      <a:endParaRPr sz="900" dirty="0">
                        <a:latin typeface="Calibri"/>
                        <a:cs typeface="Calibri"/>
                      </a:endParaRPr>
                    </a:p>
                  </a:txBody>
                  <a:tcPr marL="0" marR="0" marT="81707" marB="0">
                    <a:lnL w="28575">
                      <a:solidFill>
                        <a:srgbClr val="C9C3BA"/>
                      </a:solidFill>
                      <a:prstDash val="solid"/>
                    </a:lnL>
                    <a:lnT w="28575">
                      <a:solidFill>
                        <a:srgbClr val="C9C3BA"/>
                      </a:solidFill>
                      <a:prstDash val="solid"/>
                    </a:lnT>
                    <a:lnB w="28575">
                      <a:solidFill>
                        <a:srgbClr val="C9C3BA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8929">
                <a:tc>
                  <a:txBody>
                    <a:bodyPr/>
                    <a:lstStyle/>
                    <a:p>
                      <a:pPr marL="0" marR="24511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900" b="1" dirty="0" err="1">
                          <a:latin typeface="Calibri"/>
                          <a:cs typeface="Calibri"/>
                        </a:rPr>
                        <a:t>сырье</a:t>
                      </a:r>
                      <a:r>
                        <a:rPr sz="900" b="1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5" dirty="0" err="1">
                          <a:latin typeface="Calibri"/>
                          <a:cs typeface="Calibri"/>
                        </a:rPr>
                        <a:t>из</a:t>
                      </a:r>
                      <a:r>
                        <a:rPr sz="900" b="1" spc="-5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lang="ru-RU" sz="900" b="1" dirty="0" err="1">
                          <a:highlight>
                            <a:srgbClr val="FFFF00"/>
                          </a:highlight>
                          <a:latin typeface="Calibri"/>
                          <a:cs typeface="Calibri"/>
                        </a:rPr>
                        <a:t>Мискантуса</a:t>
                      </a:r>
                      <a:endParaRPr sz="900" dirty="0">
                        <a:highlight>
                          <a:srgbClr val="FFFF00"/>
                        </a:highlight>
                        <a:latin typeface="Calibri"/>
                        <a:cs typeface="Calibri"/>
                      </a:endParaRPr>
                    </a:p>
                  </a:txBody>
                  <a:tcPr marL="0" marR="0" marT="44648" marB="0">
                    <a:lnR w="28575">
                      <a:solidFill>
                        <a:srgbClr val="C9C3BA"/>
                      </a:solidFill>
                      <a:prstDash val="solid"/>
                    </a:lnR>
                    <a:lnT w="28575">
                      <a:solidFill>
                        <a:srgbClr val="C9C3BA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60960" marR="52069">
                        <a:lnSpc>
                          <a:spcPct val="104200"/>
                        </a:lnSpc>
                        <a:spcBef>
                          <a:spcPts val="1200"/>
                        </a:spcBef>
                      </a:pPr>
                      <a:r>
                        <a:rPr sz="900" spc="15" dirty="0">
                          <a:latin typeface="Calibri"/>
                          <a:cs typeface="Calibri"/>
                        </a:rPr>
                        <a:t>18см </a:t>
                      </a:r>
                      <a:r>
                        <a:rPr sz="900" spc="0" dirty="0">
                          <a:latin typeface="Calibri"/>
                          <a:cs typeface="Calibri"/>
                        </a:rPr>
                        <a:t>= </a:t>
                      </a:r>
                      <a:r>
                        <a:rPr sz="900" spc="10" dirty="0">
                          <a:latin typeface="Calibri"/>
                          <a:cs typeface="Calibri"/>
                        </a:rPr>
                        <a:t>0,7</a:t>
                      </a:r>
                      <a:r>
                        <a:rPr lang="ru-RU" sz="900" spc="10" dirty="0">
                          <a:latin typeface="Calibri"/>
                          <a:cs typeface="Calibri"/>
                        </a:rPr>
                        <a:t>4</a:t>
                      </a:r>
                      <a:r>
                        <a:rPr sz="9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spc="-10" dirty="0">
                          <a:latin typeface="Calibri"/>
                          <a:cs typeface="Calibri"/>
                        </a:rPr>
                        <a:t>руб.  </a:t>
                      </a:r>
                      <a:r>
                        <a:rPr sz="900" spc="15" dirty="0">
                          <a:latin typeface="Calibri"/>
                          <a:cs typeface="Calibri"/>
                        </a:rPr>
                        <a:t>23см </a:t>
                      </a:r>
                      <a:r>
                        <a:rPr sz="900" spc="0" dirty="0">
                          <a:latin typeface="Calibri"/>
                          <a:cs typeface="Calibri"/>
                        </a:rPr>
                        <a:t>= </a:t>
                      </a:r>
                      <a:r>
                        <a:rPr sz="900" spc="10" dirty="0">
                          <a:latin typeface="Calibri"/>
                          <a:cs typeface="Calibri"/>
                        </a:rPr>
                        <a:t>1,</a:t>
                      </a:r>
                      <a:r>
                        <a:rPr lang="ru-RU" sz="900" spc="10" dirty="0">
                          <a:latin typeface="Calibri"/>
                          <a:cs typeface="Calibri"/>
                        </a:rPr>
                        <a:t>09</a:t>
                      </a:r>
                      <a:r>
                        <a:rPr sz="900" spc="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spc="-10" dirty="0">
                          <a:latin typeface="Calibri"/>
                          <a:cs typeface="Calibri"/>
                        </a:rPr>
                        <a:t>руб.</a:t>
                      </a:r>
                      <a:endParaRPr sz="900" dirty="0">
                        <a:latin typeface="Calibri"/>
                        <a:cs typeface="Calibri"/>
                      </a:endParaRPr>
                    </a:p>
                  </a:txBody>
                  <a:tcPr marL="0" marR="0" marT="107156" marB="0">
                    <a:lnL w="28575">
                      <a:solidFill>
                        <a:srgbClr val="C9C3BA"/>
                      </a:solidFill>
                      <a:prstDash val="solid"/>
                    </a:lnL>
                    <a:lnR w="28575">
                      <a:solidFill>
                        <a:srgbClr val="C9C3BA"/>
                      </a:solidFill>
                      <a:prstDash val="solid"/>
                    </a:lnR>
                    <a:lnT w="28575">
                      <a:solidFill>
                        <a:srgbClr val="C9C3BA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900" spc="40" dirty="0">
                          <a:latin typeface="Calibri"/>
                          <a:cs typeface="Calibri"/>
                        </a:rPr>
                        <a:t>250</a:t>
                      </a:r>
                      <a:r>
                        <a:rPr sz="9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spc="60" dirty="0">
                          <a:latin typeface="Calibri"/>
                          <a:cs typeface="Calibri"/>
                        </a:rPr>
                        <a:t>%</a:t>
                      </a:r>
                      <a:endParaRPr sz="900">
                        <a:latin typeface="Calibri"/>
                        <a:cs typeface="Calibri"/>
                      </a:endParaRPr>
                    </a:p>
                  </a:txBody>
                  <a:tcPr marL="0" marR="0" marT="4465" marB="0">
                    <a:lnL w="28575">
                      <a:solidFill>
                        <a:srgbClr val="C9C3BA"/>
                      </a:solidFill>
                      <a:prstDash val="solid"/>
                    </a:lnL>
                    <a:lnR w="28575">
                      <a:solidFill>
                        <a:srgbClr val="C9C3BA"/>
                      </a:solidFill>
                      <a:prstDash val="solid"/>
                    </a:lnR>
                    <a:lnT w="28575">
                      <a:solidFill>
                        <a:srgbClr val="C9C3BA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106045" marR="93980" indent="12700">
                        <a:lnSpc>
                          <a:spcPct val="104200"/>
                        </a:lnSpc>
                        <a:spcBef>
                          <a:spcPts val="1200"/>
                        </a:spcBef>
                      </a:pPr>
                      <a:r>
                        <a:rPr sz="900" b="1" spc="25" dirty="0">
                          <a:latin typeface="Calibri"/>
                          <a:cs typeface="Calibri"/>
                        </a:rPr>
                        <a:t>18см = </a:t>
                      </a:r>
                      <a:r>
                        <a:rPr sz="900" b="1" spc="40" dirty="0">
                          <a:latin typeface="Calibri"/>
                          <a:cs typeface="Calibri"/>
                        </a:rPr>
                        <a:t>2,66</a:t>
                      </a:r>
                      <a:r>
                        <a:rPr sz="900" b="1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руб.  </a:t>
                      </a:r>
                      <a:r>
                        <a:rPr sz="900" b="1" spc="25" dirty="0">
                          <a:latin typeface="Calibri"/>
                          <a:cs typeface="Calibri"/>
                        </a:rPr>
                        <a:t>23см = </a:t>
                      </a:r>
                      <a:r>
                        <a:rPr sz="900" b="1" spc="40" dirty="0">
                          <a:latin typeface="Calibri"/>
                          <a:cs typeface="Calibri"/>
                        </a:rPr>
                        <a:t>4,02</a:t>
                      </a:r>
                      <a:r>
                        <a:rPr sz="900" b="1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руб.</a:t>
                      </a:r>
                      <a:endParaRPr sz="900" dirty="0">
                        <a:latin typeface="Calibri"/>
                        <a:cs typeface="Calibri"/>
                      </a:endParaRPr>
                    </a:p>
                  </a:txBody>
                  <a:tcPr marL="0" marR="0" marT="107156" marB="0">
                    <a:lnL w="28575">
                      <a:solidFill>
                        <a:srgbClr val="C9C3BA"/>
                      </a:solidFill>
                      <a:prstDash val="solid"/>
                    </a:lnL>
                    <a:lnT w="28575">
                      <a:solidFill>
                        <a:srgbClr val="C9C3BA"/>
                      </a:solidFill>
                      <a:prstDash val="soli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3" name="object 13"/>
          <p:cNvSpPr/>
          <p:nvPr/>
        </p:nvSpPr>
        <p:spPr>
          <a:xfrm>
            <a:off x="6508559" y="901899"/>
            <a:ext cx="45719" cy="5247049"/>
          </a:xfrm>
          <a:custGeom>
            <a:avLst/>
            <a:gdLst/>
            <a:ahLst/>
            <a:cxnLst/>
            <a:rect l="l" t="t" r="r" b="b"/>
            <a:pathLst>
              <a:path h="5769609">
                <a:moveTo>
                  <a:pt x="0" y="5769457"/>
                </a:moveTo>
                <a:lnTo>
                  <a:pt x="0" y="0"/>
                </a:lnTo>
              </a:path>
            </a:pathLst>
          </a:custGeom>
          <a:ln w="6350">
            <a:solidFill>
              <a:srgbClr val="41414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64291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Группа 6">
            <a:extLst>
              <a:ext uri="{FF2B5EF4-FFF2-40B4-BE49-F238E27FC236}">
                <a16:creationId xmlns:a16="http://schemas.microsoft.com/office/drawing/2014/main" id="{B77543A4-08F2-44D8-82FD-CDD4F91E2AB0}"/>
              </a:ext>
            </a:extLst>
          </p:cNvPr>
          <p:cNvGrpSpPr>
            <a:grpSpLocks/>
          </p:cNvGrpSpPr>
          <p:nvPr/>
        </p:nvGrpSpPr>
        <p:grpSpPr bwMode="auto">
          <a:xfrm>
            <a:off x="551384" y="158752"/>
            <a:ext cx="11305256" cy="461963"/>
            <a:chOff x="611560" y="159022"/>
            <a:chExt cx="8075240" cy="461666"/>
          </a:xfrm>
        </p:grpSpPr>
        <p:sp>
          <p:nvSpPr>
            <p:cNvPr id="16" name="TextBox 5">
              <a:extLst>
                <a:ext uri="{FF2B5EF4-FFF2-40B4-BE49-F238E27FC236}">
                  <a16:creationId xmlns:a16="http://schemas.microsoft.com/office/drawing/2014/main" id="{C7F076FB-0038-4942-B3EB-E5D09A0E923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5949" y="159023"/>
              <a:ext cx="8070851" cy="46166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imes New Roman" pitchFamily="18" charset="0"/>
                  <a:ea typeface="+mn-ea"/>
                  <a:cs typeface="Times New Roman" pitchFamily="18" charset="0"/>
                </a:rPr>
                <a:t>	</a:t>
              </a:r>
              <a:r>
                <a:rPr kumimoji="0" lang="ru-RU" altLang="ru-RU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Times New Roman" pitchFamily="18" charset="0"/>
                  <a:ea typeface="+mn-ea"/>
                  <a:cs typeface="Times New Roman" pitchFamily="18" charset="0"/>
                </a:rPr>
                <a:t>Сравнительный анализ</a:t>
              </a:r>
              <a:r>
                <a:rPr kumimoji="0" lang="en-US" altLang="ru-RU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Times New Roman" pitchFamily="18" charset="0"/>
                  <a:ea typeface="+mn-ea"/>
                  <a:cs typeface="Times New Roman" pitchFamily="18" charset="0"/>
                </a:rPr>
                <a:t> </a:t>
              </a:r>
              <a:r>
                <a:rPr kumimoji="0" lang="ru-RU" altLang="ru-RU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Times New Roman" pitchFamily="18" charset="0"/>
                  <a:ea typeface="+mn-ea"/>
                  <a:cs typeface="Times New Roman" pitchFamily="18" charset="0"/>
                </a:rPr>
                <a:t>оптовых цен</a:t>
              </a:r>
            </a:p>
          </p:txBody>
        </p:sp>
        <p:pic>
          <p:nvPicPr>
            <p:cNvPr id="17" name="Picture 7" descr="\\andritz.com\Unit\PPF\Sales\_Projects\Croatia\Q-028274_Pan_Papir_Miscanthus_Trial_offer\06_Meetings_Presentations\florid1.jpg">
              <a:extLst>
                <a:ext uri="{FF2B5EF4-FFF2-40B4-BE49-F238E27FC236}">
                  <a16:creationId xmlns:a16="http://schemas.microsoft.com/office/drawing/2014/main" id="{E68E4E2E-B9C3-431E-9008-4490BC7717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1560" y="159022"/>
              <a:ext cx="411477" cy="461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</p:spTree>
    <p:extLst>
      <p:ext uri="{BB962C8B-B14F-4D97-AF65-F5344CB8AC3E}">
        <p14:creationId xmlns:p14="http://schemas.microsoft.com/office/powerpoint/2010/main" val="30107743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TextBox 138">
            <a:extLst>
              <a:ext uri="{FF2B5EF4-FFF2-40B4-BE49-F238E27FC236}">
                <a16:creationId xmlns:a16="http://schemas.microsoft.com/office/drawing/2014/main" id="{37120F9A-79B1-466D-8720-479908F2AE83}"/>
              </a:ext>
            </a:extLst>
          </p:cNvPr>
          <p:cNvSpPr txBox="1"/>
          <p:nvPr/>
        </p:nvSpPr>
        <p:spPr>
          <a:xfrm>
            <a:off x="3431704" y="1293752"/>
            <a:ext cx="8087500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457200" algn="just" defTabSz="914400" rtl="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Инициативой четырех институтов ИПХЭТ СО РАН, ИК им. Г.К. Борескова СО РАН,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ИЦиГ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СО РАН, ЦСБС СО РАН и  ФГУП «Алтайское экспериментальное сельское хозяйство» выдвинут Проект полного цикла «Научные и технологические основы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биорефайнинга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мискантуса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» </a:t>
            </a:r>
          </a:p>
          <a:p>
            <a:pPr marL="0" marR="0" lvl="0" indent="45720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По состоянию на 2020 год питомник 42 Га.</a:t>
            </a:r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B13882A6-74C1-4E4C-89D7-64BA39B478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0716" y="158902"/>
            <a:ext cx="10209860" cy="46166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 contourW="12700" prstMaterial="dkEdge">
            <a:bevelT/>
            <a:bevelB/>
            <a:contourClr>
              <a:schemeClr val="bg1"/>
            </a:contourClr>
          </a:sp3d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	</a:t>
            </a:r>
            <a:r>
              <a:rPr kumimoji="0" lang="ru-RU" alt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Достижения интродукции </a:t>
            </a:r>
            <a:r>
              <a:rPr kumimoji="0" lang="ru-RU" altLang="ru-RU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мискантуса</a:t>
            </a:r>
            <a:r>
              <a:rPr kumimoji="0" lang="ru-RU" alt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отечественной селекции</a:t>
            </a:r>
          </a:p>
        </p:txBody>
      </p:sp>
      <p:pic>
        <p:nvPicPr>
          <p:cNvPr id="6" name="Picture 7" descr="\\andritz.com\Unit\PPF\Sales\_Projects\Croatia\Q-028274_Pan_Papir_Miscanthus_Trial_offer\06_Meetings_Presentations\florid1.jpg">
            <a:extLst>
              <a:ext uri="{FF2B5EF4-FFF2-40B4-BE49-F238E27FC236}">
                <a16:creationId xmlns:a16="http://schemas.microsoft.com/office/drawing/2014/main" id="{E5B35EEE-278D-47D6-BEA8-92C62E6014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0716" y="178920"/>
            <a:ext cx="648072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63500"/>
          </a:effectLst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637AAF-89DC-4221-BAA0-81EF58DE37D1}"/>
              </a:ext>
            </a:extLst>
          </p:cNvPr>
          <p:cNvSpPr txBox="1"/>
          <p:nvPr/>
        </p:nvSpPr>
        <p:spPr>
          <a:xfrm>
            <a:off x="811050" y="836712"/>
            <a:ext cx="107291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457200" algn="just" defTabSz="914400" rtl="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Miscanthus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inensi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Anders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Сорт «СОРАНОВСКИЙ»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собственник патента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ИЦиГ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СО РАН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FF7B8D-9111-4278-AC5A-C86D4A28B322}"/>
              </a:ext>
            </a:extLst>
          </p:cNvPr>
          <p:cNvSpPr txBox="1"/>
          <p:nvPr/>
        </p:nvSpPr>
        <p:spPr>
          <a:xfrm>
            <a:off x="725619" y="3334747"/>
            <a:ext cx="8408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457200" algn="just" defTabSz="914400" rtl="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Miscanthus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Giganteu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Сорт «КАМИС»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собственник ООО «Мастер Брэнд»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4E4E214-3AC2-489D-BE4F-6B1B3B3AAC1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3719" y="3305378"/>
            <a:ext cx="2405577" cy="339372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62518B3-D131-4B7B-8456-6DD094E84AB2}"/>
              </a:ext>
            </a:extLst>
          </p:cNvPr>
          <p:cNvSpPr txBox="1"/>
          <p:nvPr/>
        </p:nvSpPr>
        <p:spPr>
          <a:xfrm>
            <a:off x="3431704" y="4062979"/>
            <a:ext cx="553977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457200" algn="just" defTabSz="914400" rtl="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Проведены экологические и технические испытания, селекционная работа. Получен патент на селекционное достижение и сорт внесен в единый реестр с/х культур.</a:t>
            </a:r>
          </a:p>
          <a:p>
            <a:pPr marL="0" marR="0" lvl="0" indent="457200" algn="just" defTabSz="914400" rtl="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По состоянию на 2020 год питомник 51 Га.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C18EE57-8D84-4D9F-A1E1-9EB7B7EE8F6C}"/>
              </a:ext>
            </a:extLst>
          </p:cNvPr>
          <p:cNvSpPr/>
          <p:nvPr/>
        </p:nvSpPr>
        <p:spPr>
          <a:xfrm>
            <a:off x="399730" y="840051"/>
            <a:ext cx="5040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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3DDED86F-098E-40E9-AA6A-01F9F9923CCC}"/>
              </a:ext>
            </a:extLst>
          </p:cNvPr>
          <p:cNvSpPr/>
          <p:nvPr/>
        </p:nvSpPr>
        <p:spPr>
          <a:xfrm>
            <a:off x="306994" y="3380915"/>
            <a:ext cx="5040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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63F1917-6DF9-4381-9F32-14D6D1CAE214}"/>
              </a:ext>
            </a:extLst>
          </p:cNvPr>
          <p:cNvSpPr/>
          <p:nvPr/>
        </p:nvSpPr>
        <p:spPr>
          <a:xfrm>
            <a:off x="725619" y="6165304"/>
            <a:ext cx="8381294" cy="338554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тенциальная возможность установки промышленных плантаций до 10 000 Га в год.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5A518E7-D969-419C-8569-A143F4B79D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36640" y="1206044"/>
            <a:ext cx="1705130" cy="1927555"/>
          </a:xfrm>
          <a:prstGeom prst="rect">
            <a:avLst/>
          </a:prstGeom>
          <a:effectLst>
            <a:glow rad="25400">
              <a:schemeClr val="accent1">
                <a:alpha val="40000"/>
              </a:schemeClr>
            </a:glow>
          </a:effectLst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B65AD3EC-0054-4956-808F-4B1F7B65C0C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622" b="10854"/>
          <a:stretch/>
        </p:blipFill>
        <p:spPr>
          <a:xfrm>
            <a:off x="1336392" y="3803015"/>
            <a:ext cx="1705378" cy="2218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5085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Объект 2"/>
          <p:cNvSpPr>
            <a:spLocks noGrp="1"/>
          </p:cNvSpPr>
          <p:nvPr>
            <p:ph idx="1"/>
          </p:nvPr>
        </p:nvSpPr>
        <p:spPr>
          <a:xfrm>
            <a:off x="1415480" y="3408363"/>
            <a:ext cx="9433048" cy="482600"/>
          </a:xfrm>
        </p:spPr>
        <p:txBody>
          <a:bodyPr/>
          <a:lstStyle/>
          <a:p>
            <a:pPr marL="0" indent="0" algn="ctr" eaLnBrk="1" hangingPunct="1">
              <a:buNone/>
              <a:defRPr/>
            </a:pPr>
            <a:r>
              <a:rPr lang="ru-RU" altLang="ru-RU" sz="16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itchFamily="18" charset="0"/>
              </a:rPr>
              <a:t>После зимнего опадания листьев растение высыхает до уровня влагосодержания 15-20%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59496" y="1182327"/>
            <a:ext cx="2160240" cy="1802602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25400"/>
          </a:effectLst>
        </p:spPr>
      </p:pic>
      <p:pic>
        <p:nvPicPr>
          <p:cNvPr id="9" name="Рисунок 6" descr="http://atagos.com.ua/useruploads/images/mis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99814" y="1181487"/>
            <a:ext cx="2460282" cy="1806531"/>
          </a:xfrm>
          <a:prstGeom prst="rect">
            <a:avLst/>
          </a:prstGeom>
          <a:noFill/>
          <a:ln>
            <a:noFill/>
          </a:ln>
          <a:effectLst>
            <a:softEdge rad="25400"/>
          </a:effectLst>
        </p:spPr>
      </p:pic>
      <p:sp>
        <p:nvSpPr>
          <p:cNvPr id="59400" name="Объект 2"/>
          <p:cNvSpPr txBox="1">
            <a:spLocks/>
          </p:cNvSpPr>
          <p:nvPr/>
        </p:nvSpPr>
        <p:spPr bwMode="auto">
          <a:xfrm>
            <a:off x="1061296" y="2978152"/>
            <a:ext cx="316304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Посадочный материал - корни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602212" y="4003705"/>
            <a:ext cx="3246316" cy="1920395"/>
          </a:xfrm>
          <a:prstGeom prst="rect">
            <a:avLst/>
          </a:prstGeom>
          <a:effectLst>
            <a:softEdge rad="38100"/>
          </a:effectLst>
        </p:spPr>
      </p:pic>
      <p:sp>
        <p:nvSpPr>
          <p:cNvPr id="59402" name="Объект 2"/>
          <p:cNvSpPr txBox="1">
            <a:spLocks/>
          </p:cNvSpPr>
          <p:nvPr/>
        </p:nvSpPr>
        <p:spPr bwMode="auto">
          <a:xfrm>
            <a:off x="4229102" y="2998790"/>
            <a:ext cx="2947018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Механизированная посадка</a:t>
            </a:r>
          </a:p>
        </p:txBody>
      </p:sp>
      <p:sp>
        <p:nvSpPr>
          <p:cNvPr id="59403" name="Объект 2"/>
          <p:cNvSpPr txBox="1">
            <a:spLocks/>
          </p:cNvSpPr>
          <p:nvPr/>
        </p:nvSpPr>
        <p:spPr bwMode="auto">
          <a:xfrm>
            <a:off x="7320136" y="5953127"/>
            <a:ext cx="3960439" cy="64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Хранение осуществляется под открытым небом</a:t>
            </a:r>
          </a:p>
        </p:txBody>
      </p:sp>
      <p:sp>
        <p:nvSpPr>
          <p:cNvPr id="59405" name="Объект 2"/>
          <p:cNvSpPr txBox="1">
            <a:spLocks/>
          </p:cNvSpPr>
          <p:nvPr/>
        </p:nvSpPr>
        <p:spPr bwMode="auto">
          <a:xfrm>
            <a:off x="7520111" y="2984500"/>
            <a:ext cx="3400425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Вегетативный период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703512" y="4003703"/>
            <a:ext cx="1584176" cy="1916596"/>
          </a:xfrm>
          <a:prstGeom prst="rect">
            <a:avLst/>
          </a:prstGeom>
          <a:effectLst>
            <a:softEdge rad="25400"/>
          </a:effectLst>
        </p:spPr>
      </p:pic>
      <p:sp>
        <p:nvSpPr>
          <p:cNvPr id="59407" name="Объект 2"/>
          <p:cNvSpPr txBox="1">
            <a:spLocks/>
          </p:cNvSpPr>
          <p:nvPr/>
        </p:nvSpPr>
        <p:spPr bwMode="auto">
          <a:xfrm>
            <a:off x="1061296" y="5942015"/>
            <a:ext cx="5971331" cy="65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Уборка производится при помощи обычных косилок и пресс-подборщиков</a:t>
            </a:r>
            <a:r>
              <a:rPr kumimoji="0" lang="en-US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или кормоуборочных комбайнов</a:t>
            </a:r>
          </a:p>
        </p:txBody>
      </p:sp>
      <p:grpSp>
        <p:nvGrpSpPr>
          <p:cNvPr id="55310" name="Группа 19"/>
          <p:cNvGrpSpPr>
            <a:grpSpLocks/>
          </p:cNvGrpSpPr>
          <p:nvPr/>
        </p:nvGrpSpPr>
        <p:grpSpPr bwMode="auto">
          <a:xfrm>
            <a:off x="1415480" y="365641"/>
            <a:ext cx="9151168" cy="457898"/>
            <a:chOff x="539552" y="145169"/>
            <a:chExt cx="8070851" cy="489928"/>
          </a:xfrm>
        </p:grpSpPr>
        <p:sp>
          <p:nvSpPr>
            <p:cNvPr id="21" name="TextBox 5"/>
            <p:cNvSpPr txBox="1">
              <a:spLocks noChangeArrowheads="1"/>
            </p:cNvSpPr>
            <p:nvPr/>
          </p:nvSpPr>
          <p:spPr bwMode="auto">
            <a:xfrm>
              <a:off x="539552" y="159342"/>
              <a:ext cx="8070851" cy="46102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Times New Roman" pitchFamily="18" charset="0"/>
                  <a:ea typeface="+mn-ea"/>
                  <a:cs typeface="Times New Roman" pitchFamily="18" charset="0"/>
                </a:rPr>
                <a:t>Технология выращивания: посадка, уборка и хранение</a:t>
              </a:r>
            </a:p>
          </p:txBody>
        </p:sp>
        <p:pic>
          <p:nvPicPr>
            <p:cNvPr id="22" name="Picture 7" descr="\\andritz.com\Unit\PPF\Sales\_Projects\Croatia\Q-028274_Pan_Papir_Miscanthus_Trial_offer\06_Meetings_Presentations\florid1.jp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539552" y="145169"/>
              <a:ext cx="503858" cy="489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8"/>
          <a:srcRect t="25623" b="8501"/>
          <a:stretch/>
        </p:blipFill>
        <p:spPr>
          <a:xfrm>
            <a:off x="3863752" y="4013203"/>
            <a:ext cx="3240361" cy="1901823"/>
          </a:xfrm>
          <a:prstGeom prst="rect">
            <a:avLst/>
          </a:prstGeom>
          <a:effectLst>
            <a:softEdge rad="25400"/>
          </a:effec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0545CB3-ECDB-43CA-B554-1AF9D665445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50" b="26406"/>
          <a:stretch/>
        </p:blipFill>
        <p:spPr>
          <a:xfrm>
            <a:off x="7602211" y="1184281"/>
            <a:ext cx="3246317" cy="1793871"/>
          </a:xfrm>
          <a:prstGeom prst="rect">
            <a:avLst/>
          </a:prstGeom>
          <a:effectLst>
            <a:softEdge rad="25400"/>
          </a:effectLst>
        </p:spPr>
      </p:pic>
    </p:spTree>
    <p:extLst>
      <p:ext uri="{BB962C8B-B14F-4D97-AF65-F5344CB8AC3E}">
        <p14:creationId xmlns:p14="http://schemas.microsoft.com/office/powerpoint/2010/main" val="12684392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310" name="Группа 19"/>
          <p:cNvGrpSpPr>
            <a:grpSpLocks/>
          </p:cNvGrpSpPr>
          <p:nvPr/>
        </p:nvGrpSpPr>
        <p:grpSpPr bwMode="auto">
          <a:xfrm>
            <a:off x="1415480" y="363498"/>
            <a:ext cx="9151168" cy="461665"/>
            <a:chOff x="539552" y="142876"/>
            <a:chExt cx="8070851" cy="493959"/>
          </a:xfrm>
        </p:grpSpPr>
        <p:sp>
          <p:nvSpPr>
            <p:cNvPr id="21" name="TextBox 5"/>
            <p:cNvSpPr txBox="1">
              <a:spLocks noChangeArrowheads="1"/>
            </p:cNvSpPr>
            <p:nvPr/>
          </p:nvSpPr>
          <p:spPr bwMode="auto">
            <a:xfrm>
              <a:off x="539552" y="142876"/>
              <a:ext cx="8070851" cy="49395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marL="914296" marR="0" lvl="2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Times New Roman" pitchFamily="18" charset="0"/>
                  <a:ea typeface="+mn-ea"/>
                  <a:cs typeface="Times New Roman" pitchFamily="18" charset="0"/>
                </a:rPr>
                <a:t>Мискантус</a:t>
              </a:r>
              <a:r>
                <a:rPr kumimoji="0" lang="ru-RU" alt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Times New Roman" pitchFamily="18" charset="0"/>
                  <a:ea typeface="+mn-ea"/>
                  <a:cs typeface="Times New Roman" pitchFamily="18" charset="0"/>
                </a:rPr>
                <a:t> стимулирует переход к </a:t>
              </a:r>
              <a:r>
                <a:rPr kumimoji="0" lang="ru-RU" alt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Times New Roman" pitchFamily="18" charset="0"/>
                  <a:ea typeface="+mn-ea"/>
                  <a:cs typeface="Times New Roman" pitchFamily="18" charset="0"/>
                </a:rPr>
                <a:t>биоэкономике</a:t>
              </a:r>
              <a:endParaRPr kumimoji="0" lang="ru-RU" alt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endParaRPr>
            </a:p>
          </p:txBody>
        </p:sp>
        <p:pic>
          <p:nvPicPr>
            <p:cNvPr id="22" name="Picture 7" descr="\\andritz.com\Unit\PPF\Sales\_Projects\Croatia\Q-028274_Pan_Papir_Miscanthus_Trial_offer\06_Meetings_Presentations\florid1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39552" y="145169"/>
              <a:ext cx="503858" cy="489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4E42FB97-6745-41CD-9E9E-96F0B6EFD82E}"/>
              </a:ext>
            </a:extLst>
          </p:cNvPr>
          <p:cNvSpPr/>
          <p:nvPr/>
        </p:nvSpPr>
        <p:spPr>
          <a:xfrm>
            <a:off x="1216050" y="1991610"/>
            <a:ext cx="653613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жидается, что растительные альтернативы ископаемому сырью и топливу будут играть важную роль в переходе к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иоэкономике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C4627A3F-BD56-4067-A92D-B5B56BCD642F}"/>
              </a:ext>
            </a:extLst>
          </p:cNvPr>
          <p:cNvSpPr/>
          <p:nvPr/>
        </p:nvSpPr>
        <p:spPr>
          <a:xfrm>
            <a:off x="1216050" y="4219068"/>
            <a:ext cx="1013653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- это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игнино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целлюлозное многолетнее растение C4, является одним из наиболее быстро доступных на Земле источником сырья для производства биотоплива и необычайное базовое сырье для всех видов биоэкономического использования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бладает огромным потенциалом обеспечивающим переход от ископаемой экономики к растительной.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B9E1EFBD-7601-45C0-9491-A3EF476EFBCB}"/>
              </a:ext>
            </a:extLst>
          </p:cNvPr>
          <p:cNvSpPr/>
          <p:nvPr/>
        </p:nvSpPr>
        <p:spPr>
          <a:xfrm>
            <a:off x="1216050" y="5542507"/>
            <a:ext cx="975989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ио-рефайнинг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а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может стать основой для сотен продуктов, включая фармацевтические препараты, биопластики,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иохимикаты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биоэтанол и упаковку.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333D44F7-3973-4381-B0BF-06FF9FF2B13E}"/>
              </a:ext>
            </a:extLst>
          </p:cNvPr>
          <p:cNvSpPr/>
          <p:nvPr/>
        </p:nvSpPr>
        <p:spPr>
          <a:xfrm>
            <a:off x="1216051" y="2603995"/>
            <a:ext cx="689617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сли мы хотим достичь чистого нуля к 2050 году, нам потребуются культуры и процессы, играющее жизненно важную роль в борьбе с изменением климата, нейтральные к выбросам углерода, в то же время, которые растут на маргинальных или неиспользуемых землях, которые способны обеспечить проверенную, масштабируемую и устойчивую альтернативу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возобновляемым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ресурсам.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7C08D939-D9F0-4C0B-B9E0-F0B948680A48}"/>
              </a:ext>
            </a:extLst>
          </p:cNvPr>
          <p:cNvSpPr/>
          <p:nvPr/>
        </p:nvSpPr>
        <p:spPr>
          <a:xfrm>
            <a:off x="1216050" y="1146808"/>
            <a:ext cx="675215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ы сталкиваемся с растущим народонаселением планеты, катастрофической потерей биоразнообразия и угрозой климатических чрезвычайных ситуаций.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3ED48F3-9CCD-4D67-B651-13D7225A8B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56240" y="1360564"/>
            <a:ext cx="3194581" cy="2371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4483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310" name="Группа 19"/>
          <p:cNvGrpSpPr>
            <a:grpSpLocks/>
          </p:cNvGrpSpPr>
          <p:nvPr/>
        </p:nvGrpSpPr>
        <p:grpSpPr bwMode="auto">
          <a:xfrm>
            <a:off x="1415480" y="365641"/>
            <a:ext cx="9151168" cy="457898"/>
            <a:chOff x="539552" y="145169"/>
            <a:chExt cx="8070851" cy="489928"/>
          </a:xfrm>
        </p:grpSpPr>
        <p:sp>
          <p:nvSpPr>
            <p:cNvPr id="21" name="TextBox 5"/>
            <p:cNvSpPr txBox="1">
              <a:spLocks noChangeArrowheads="1"/>
            </p:cNvSpPr>
            <p:nvPr/>
          </p:nvSpPr>
          <p:spPr bwMode="auto">
            <a:xfrm>
              <a:off x="539552" y="159342"/>
              <a:ext cx="8070851" cy="46102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marL="914296" marR="0" lvl="2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Times New Roman" pitchFamily="18" charset="0"/>
                  <a:ea typeface="+mn-ea"/>
                  <a:cs typeface="Times New Roman" pitchFamily="18" charset="0"/>
                </a:rPr>
                <a:t>Мискантус</a:t>
              </a:r>
              <a:r>
                <a:rPr kumimoji="0" lang="ru-RU" altLang="ru-RU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Times New Roman" pitchFamily="18" charset="0"/>
                  <a:ea typeface="+mn-ea"/>
                  <a:cs typeface="Times New Roman" pitchFamily="18" charset="0"/>
                </a:rPr>
                <a:t> и Экология</a:t>
              </a:r>
            </a:p>
          </p:txBody>
        </p:sp>
        <p:pic>
          <p:nvPicPr>
            <p:cNvPr id="22" name="Picture 7" descr="\\andritz.com\Unit\PPF\Sales\_Projects\Croatia\Q-028274_Pan_Papir_Miscanthus_Trial_offer\06_Meetings_Presentations\florid1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39552" y="145169"/>
              <a:ext cx="503858" cy="489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39123B3-F056-4216-B3A8-6E8A9E8A0DD6}"/>
              </a:ext>
            </a:extLst>
          </p:cNvPr>
          <p:cNvSpPr/>
          <p:nvPr/>
        </p:nvSpPr>
        <p:spPr>
          <a:xfrm>
            <a:off x="775946" y="827824"/>
            <a:ext cx="26252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глощение углерода 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4E42FB97-6745-41CD-9E9E-96F0B6EFD82E}"/>
              </a:ext>
            </a:extLst>
          </p:cNvPr>
          <p:cNvSpPr/>
          <p:nvPr/>
        </p:nvSpPr>
        <p:spPr>
          <a:xfrm>
            <a:off x="775946" y="1197156"/>
            <a:ext cx="8776438" cy="5447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стения связывают углерод путем фотосинтеза. В конце каждого сезона растение перемещает питательные вещества в корни. Когда растения переносят углерод к корням, он не остается там вечно. Почвенный углерод - это баланс между распадом исходного почвенного углерода и скоростью поступления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личество углерода в почве под полями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а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увеличивается в течение всего жизненного цикла: высокие пропорции остатков от сбора урожая и опавшие листья, прямое накопление гумуса, хорошо развитая и глубокая корневая система, низкие скорости разложения растительных остатков из-за высокого соотношения C:N (углерода к азоту), а также отсутствие обработки почвы и, как следствие, меньшая аэрация почвы, являются причинами высоких показателей секвестрации углерода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 сути, накопление углерода под землей работает как инструмент снижения выбросов парниковых газов, потому что он удаляет CO</a:t>
            </a:r>
            <a:r>
              <a:rPr kumimoji="0" lang="ru-RU" sz="12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из надземной циркуляции. Циркуляция над землей обусловлена фотосинтезом и сжиганием - во-первых, поля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а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оглощают СО</a:t>
            </a:r>
            <a:r>
              <a:rPr kumimoji="0" lang="ru-RU" sz="12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и ассимилируют его как углерод в своей ткани как над, так и под землей. Когда надземный углерод собирается и сжигается, он выпускается обратно в атмосферу в виде CO</a:t>
            </a:r>
            <a:r>
              <a:rPr kumimoji="0" lang="ru-RU" sz="12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Тем не менее, эквивалентное количество CO</a:t>
            </a:r>
            <a:r>
              <a:rPr kumimoji="0" lang="ru-RU" sz="12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оглощается обратно ростом следующего сезона, и цикл повторяется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- одна из немногих культур в мире, которая достигает истинной нейтральности CO</a:t>
            </a:r>
            <a:r>
              <a:rPr kumimoji="0" lang="ru-RU" sz="12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ри использовании в качестве биотоплива. При переходе от использования мазута на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прямые и косвенные выбросы парниковых газов могут быть уменьшены как минимум на 96% (выбросы: 0,08 кг СО</a:t>
            </a:r>
            <a:r>
              <a:rPr kumimoji="0" lang="ru-RU" sz="12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экв. МДж</a:t>
            </a:r>
            <a:r>
              <a:rPr kumimoji="0" lang="ru-RU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1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мазут) против 0,0032 кг CO</a:t>
            </a:r>
            <a:r>
              <a:rPr kumimoji="0" lang="ru-RU" sz="12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экв. МДж</a:t>
            </a:r>
            <a:r>
              <a:rPr kumimoji="0" lang="ru-RU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1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. А с учетом секвестрации углерода во время роста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а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потенциал снижения CO</a:t>
            </a:r>
            <a:r>
              <a:rPr kumimoji="0" lang="ru-RU" sz="12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экв. до 117%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 сравнению с ископаемым топливом экономия парниковых газов велика - без учета отрицательных чисел секвестрации углерода, эмиссия из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а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оставляет 0,4–1,6 грамм эквивалента CO</a:t>
            </a:r>
            <a:r>
              <a:rPr kumimoji="0" lang="ru-RU" sz="12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на мегаджоуль, по сравнению с 33 граммами для угля, 22 для сжиженного природного газа, 16 для природного газа и 4 для древесной щепы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ля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а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выращиваемого в климатических условиях Российского Нечерноземья, снижение содержания CO</a:t>
            </a:r>
            <a:r>
              <a:rPr kumimoji="0" lang="ru-RU" sz="12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в атмосфере оценивается в 19,2 тонны на гектар в год, при этом экономия ископаемой энергии составляет 273 ГДж на гектар в год. Для маргинальных земель, ограниченных засухой (Волгоградская, Астраханская обл., Калмыкия), уровень CO</a:t>
            </a:r>
            <a:r>
              <a:rPr kumimoji="0" lang="ru-RU" sz="12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в атмосфере может быть потенциально снижен до 24 тонн на гектар в год, при этом экономия ископаемой энергии составляет 338 ГДж на гектар в год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ледует отметить, что успешная секвестрация зависит от участков посадки, так как лучшие почвы для секвестрации - это те, которые изначально содержат мало углерода (малоплодородные, истощенные).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383E8A0-A0B9-4AC2-A76B-1E83DBAD3D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24392" y="1017027"/>
            <a:ext cx="2097206" cy="2792210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2D96BCD1-EC65-4B3D-960C-43FEF833768E}"/>
              </a:ext>
            </a:extLst>
          </p:cNvPr>
          <p:cNvSpPr/>
          <p:nvPr/>
        </p:nvSpPr>
        <p:spPr>
          <a:xfrm>
            <a:off x="9771978" y="4077072"/>
            <a:ext cx="1802033" cy="108651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истое годовое накопление углерода составляет более 32 тонн на гектар</a:t>
            </a:r>
          </a:p>
        </p:txBody>
      </p:sp>
    </p:spTree>
    <p:extLst>
      <p:ext uri="{BB962C8B-B14F-4D97-AF65-F5344CB8AC3E}">
        <p14:creationId xmlns:p14="http://schemas.microsoft.com/office/powerpoint/2010/main" val="392450036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310" name="Группа 19"/>
          <p:cNvGrpSpPr>
            <a:grpSpLocks/>
          </p:cNvGrpSpPr>
          <p:nvPr/>
        </p:nvGrpSpPr>
        <p:grpSpPr bwMode="auto">
          <a:xfrm>
            <a:off x="1415480" y="365641"/>
            <a:ext cx="9151168" cy="457898"/>
            <a:chOff x="539552" y="145169"/>
            <a:chExt cx="8070851" cy="489928"/>
          </a:xfrm>
        </p:grpSpPr>
        <p:sp>
          <p:nvSpPr>
            <p:cNvPr id="21" name="TextBox 5"/>
            <p:cNvSpPr txBox="1">
              <a:spLocks noChangeArrowheads="1"/>
            </p:cNvSpPr>
            <p:nvPr/>
          </p:nvSpPr>
          <p:spPr bwMode="auto">
            <a:xfrm>
              <a:off x="539552" y="159342"/>
              <a:ext cx="8070851" cy="46102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marL="914296" marR="0" lvl="2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Times New Roman" pitchFamily="18" charset="0"/>
                  <a:ea typeface="+mn-ea"/>
                  <a:cs typeface="Times New Roman" pitchFamily="18" charset="0"/>
                </a:rPr>
                <a:t>Мискантус</a:t>
              </a:r>
              <a:r>
                <a:rPr kumimoji="0" lang="ru-RU" altLang="ru-RU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Times New Roman" pitchFamily="18" charset="0"/>
                  <a:ea typeface="+mn-ea"/>
                  <a:cs typeface="Times New Roman" pitchFamily="18" charset="0"/>
                </a:rPr>
                <a:t> и Экология</a:t>
              </a:r>
            </a:p>
          </p:txBody>
        </p:sp>
        <p:pic>
          <p:nvPicPr>
            <p:cNvPr id="22" name="Picture 7" descr="\\andritz.com\Unit\PPF\Sales\_Projects\Croatia\Q-028274_Pan_Papir_Miscanthus_Trial_offer\06_Meetings_Presentations\florid1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39552" y="145169"/>
              <a:ext cx="503858" cy="489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9BD1E3D-CEBC-4803-B16E-263F38DD0B42}"/>
              </a:ext>
            </a:extLst>
          </p:cNvPr>
          <p:cNvSpPr/>
          <p:nvPr/>
        </p:nvSpPr>
        <p:spPr>
          <a:xfrm>
            <a:off x="975651" y="986960"/>
            <a:ext cx="21496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иоразнообразие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0D184AE-89F9-4501-8B46-1F2760C214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60296" y="1484784"/>
            <a:ext cx="2091109" cy="1292464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F12827E-5578-42D8-91A5-2F374C6B2E50}"/>
              </a:ext>
            </a:extLst>
          </p:cNvPr>
          <p:cNvSpPr/>
          <p:nvPr/>
        </p:nvSpPr>
        <p:spPr>
          <a:xfrm>
            <a:off x="975651" y="1356292"/>
            <a:ext cx="7640629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становлено, что зимняя вегетативная структура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а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беспечивает важный покров и ресурс среды обитания с высоким уровнем разнообразия по сравнению с однолетними культурами. Этот эффект был особенно очевиден для насекомых, мух и птиц. Флора под стеблестоем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а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дает пищу бабочкам, другим насекомым и их хищникам, а также 40 видам птиц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лантации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а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пособствуют разнообразию сообществ дождевых червей даже в интенсивных сельскохозяйственных ландшафтах. Количество видов дождевых червей на квадратный метр составляло 5,1 для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а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3 для кукурузы и 6,4 для паров (полностью необслуживаемых земель). Бактериальная активность некоторых бактерий, принадлежащих к группе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теобактерий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почти удваивается в присутствии экссудатов корней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а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лотный стеблевой навес работает как защита для других форм жизни, обеспечивая среду обитания для птиц, насекомых и мелких млекопитающих (бурый заяц, горностай, мыши, полевка, лиса и кролик). Стеблестой действует как гнездовая среда обитания и коридор дикой природы, соединяющий разные места обитания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ля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а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лужат барьером для химического выщелачивания в эти ключевые места обитания.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C99775A-9415-420E-961F-518855219C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60296" y="2961815"/>
            <a:ext cx="2091109" cy="1572904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D2727DE4-34AA-43AE-BD1E-3E6E58158C99}"/>
              </a:ext>
            </a:extLst>
          </p:cNvPr>
          <p:cNvSpPr/>
          <p:nvPr/>
        </p:nvSpPr>
        <p:spPr>
          <a:xfrm>
            <a:off x="5231904" y="6165811"/>
            <a:ext cx="6048672" cy="29117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92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</a:t>
            </a:r>
            <a:r>
              <a:rPr kumimoji="0" lang="ru-RU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беспечивает лучшее биоразнообразие, чем зерновые культуры</a:t>
            </a:r>
          </a:p>
        </p:txBody>
      </p:sp>
    </p:spTree>
    <p:extLst>
      <p:ext uri="{BB962C8B-B14F-4D97-AF65-F5344CB8AC3E}">
        <p14:creationId xmlns:p14="http://schemas.microsoft.com/office/powerpoint/2010/main" val="13335978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310" name="Группа 19"/>
          <p:cNvGrpSpPr>
            <a:grpSpLocks/>
          </p:cNvGrpSpPr>
          <p:nvPr/>
        </p:nvGrpSpPr>
        <p:grpSpPr bwMode="auto">
          <a:xfrm>
            <a:off x="1415480" y="365641"/>
            <a:ext cx="9151168" cy="457898"/>
            <a:chOff x="539552" y="145169"/>
            <a:chExt cx="8070851" cy="489928"/>
          </a:xfrm>
        </p:grpSpPr>
        <p:sp>
          <p:nvSpPr>
            <p:cNvPr id="21" name="TextBox 5"/>
            <p:cNvSpPr txBox="1">
              <a:spLocks noChangeArrowheads="1"/>
            </p:cNvSpPr>
            <p:nvPr/>
          </p:nvSpPr>
          <p:spPr bwMode="auto">
            <a:xfrm>
              <a:off x="539552" y="159342"/>
              <a:ext cx="8070851" cy="46102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marL="914296" marR="0" lvl="2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Times New Roman" pitchFamily="18" charset="0"/>
                  <a:ea typeface="+mn-ea"/>
                  <a:cs typeface="Times New Roman" pitchFamily="18" charset="0"/>
                </a:rPr>
                <a:t>Мискантус</a:t>
              </a:r>
              <a:r>
                <a:rPr kumimoji="0" lang="ru-RU" altLang="ru-RU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Times New Roman" pitchFamily="18" charset="0"/>
                  <a:ea typeface="+mn-ea"/>
                  <a:cs typeface="Times New Roman" pitchFamily="18" charset="0"/>
                </a:rPr>
                <a:t> и Экология</a:t>
              </a:r>
            </a:p>
          </p:txBody>
        </p:sp>
        <p:pic>
          <p:nvPicPr>
            <p:cNvPr id="22" name="Picture 7" descr="\\andritz.com\Unit\PPF\Sales\_Projects\Croatia\Q-028274_Pan_Papir_Miscanthus_Trial_offer\06_Meetings_Presentations\florid1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39552" y="145169"/>
              <a:ext cx="503858" cy="489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C2A3ACCD-07EB-4CAA-99CE-5DDFC80E855D}"/>
              </a:ext>
            </a:extLst>
          </p:cNvPr>
          <p:cNvSpPr/>
          <p:nvPr/>
        </p:nvSpPr>
        <p:spPr>
          <a:xfrm>
            <a:off x="1343472" y="1074509"/>
            <a:ext cx="194213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чество воды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66EABF9-E27A-434F-A1E6-2A9CF9604665}"/>
              </a:ext>
            </a:extLst>
          </p:cNvPr>
          <p:cNvSpPr/>
          <p:nvPr/>
        </p:nvSpPr>
        <p:spPr>
          <a:xfrm>
            <a:off x="1343472" y="1497002"/>
            <a:ext cx="684076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пособствует значительному улучшению качества воды из-за значительно меньшего выщелачивания нитратов из-за низких или нулевых потребностей в удобрениях, постоянного присутствия азота в корнях растения и эффективной внутренней рециркуляции питательных веществ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давнее исследование показало, что у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а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было в девять раз меньше подземных потерь нитратов по сравнению с кукурузой или кукурузой, выращиваемой в севообороте с соевыми бобами.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A83F6F77-D89E-431D-B672-0E818FE07D7E}"/>
              </a:ext>
            </a:extLst>
          </p:cNvPr>
          <p:cNvSpPr/>
          <p:nvPr/>
        </p:nvSpPr>
        <p:spPr>
          <a:xfrm>
            <a:off x="1338466" y="3874905"/>
            <a:ext cx="191174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вазивность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7DF7AE44-BF92-4FF8-BEF8-007547C2DAA9}"/>
              </a:ext>
            </a:extLst>
          </p:cNvPr>
          <p:cNvSpPr/>
          <p:nvPr/>
        </p:nvSpPr>
        <p:spPr>
          <a:xfrm>
            <a:off x="1346198" y="4410710"/>
            <a:ext cx="936882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родители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scanthus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×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iganteus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 обеих сторон: M.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nensis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и M.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cchariflorus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, являются потенциально инвазивными видами, поскольку оба они дают жизнеспособные семена, однако M. x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iganteus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не дает жизнеспособных семян, и за все время исследований и промышленной культивации не было сообщений об угрозе распространения роста корневища от долгосрочных коммерческих плантаций до соседних пахотных земель.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F7B2CC4-AF04-4D25-819A-D3DB47722CB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951" r="10113"/>
          <a:stretch/>
        </p:blipFill>
        <p:spPr>
          <a:xfrm>
            <a:off x="8328248" y="1340810"/>
            <a:ext cx="2736304" cy="2924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23674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310" name="Группа 19"/>
          <p:cNvGrpSpPr>
            <a:grpSpLocks/>
          </p:cNvGrpSpPr>
          <p:nvPr/>
        </p:nvGrpSpPr>
        <p:grpSpPr bwMode="auto">
          <a:xfrm>
            <a:off x="1415480" y="365641"/>
            <a:ext cx="9151168" cy="457898"/>
            <a:chOff x="539552" y="145169"/>
            <a:chExt cx="8070851" cy="489928"/>
          </a:xfrm>
        </p:grpSpPr>
        <p:sp>
          <p:nvSpPr>
            <p:cNvPr id="21" name="TextBox 5"/>
            <p:cNvSpPr txBox="1">
              <a:spLocks noChangeArrowheads="1"/>
            </p:cNvSpPr>
            <p:nvPr/>
          </p:nvSpPr>
          <p:spPr bwMode="auto">
            <a:xfrm>
              <a:off x="539552" y="159342"/>
              <a:ext cx="8070851" cy="46102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marL="914296" marR="0" lvl="2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Times New Roman" pitchFamily="18" charset="0"/>
                  <a:ea typeface="+mn-ea"/>
                  <a:cs typeface="Times New Roman" pitchFamily="18" charset="0"/>
                </a:rPr>
                <a:t>Мискантус</a:t>
              </a:r>
              <a:r>
                <a:rPr kumimoji="0" lang="ru-RU" altLang="ru-RU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Times New Roman" pitchFamily="18" charset="0"/>
                  <a:ea typeface="+mn-ea"/>
                  <a:cs typeface="Times New Roman" pitchFamily="18" charset="0"/>
                </a:rPr>
                <a:t> и Экология</a:t>
              </a:r>
            </a:p>
          </p:txBody>
        </p:sp>
        <p:pic>
          <p:nvPicPr>
            <p:cNvPr id="22" name="Picture 7" descr="\\andritz.com\Unit\PPF\Sales\_Projects\Croatia\Q-028274_Pan_Papir_Miscanthus_Trial_offer\06_Meetings_Presentations\florid1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39552" y="145169"/>
              <a:ext cx="503858" cy="489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BBDD8EE-9C3E-455F-83D3-30530814795F}"/>
              </a:ext>
            </a:extLst>
          </p:cNvPr>
          <p:cNvSpPr/>
          <p:nvPr/>
        </p:nvSpPr>
        <p:spPr>
          <a:xfrm>
            <a:off x="1209945" y="955403"/>
            <a:ext cx="35431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вышение плодородия почвы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0A70FC7F-FB9B-4913-8F30-C995BBF86D6A}"/>
              </a:ext>
            </a:extLst>
          </p:cNvPr>
          <p:cNvSpPr/>
          <p:nvPr/>
        </p:nvSpPr>
        <p:spPr>
          <a:xfrm>
            <a:off x="1209945" y="3645024"/>
            <a:ext cx="6398223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олокнистая, обширная корневая система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а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и отсутствие обработки почвы повышает инфильтрацию, гидравлическую проводимость и хранение воды по сравнению с ежегодными пропашными культурами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лезной особенностью является способность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а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улучшать качество почвы даже на загрязненных участках. Например, существует большой потенциал для увеличения урожайности на загрязненных маргинальных землях с низким содержанием питательных веществ путем их удобрения иловым осадком сточных вод. Эта практика дает трехкратное преимущество: повышение продуктивности почвы, повышение урожайности биомассы и снижение затрат на захоронение иловых осадков сточных вод.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3F95848-5B3D-45FB-974C-69A8C05815F4}"/>
              </a:ext>
            </a:extLst>
          </p:cNvPr>
          <p:cNvSpPr/>
          <p:nvPr/>
        </p:nvSpPr>
        <p:spPr>
          <a:xfrm>
            <a:off x="1209945" y="1320578"/>
            <a:ext cx="7766375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учные исследования демонстрируют положительное влияние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а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на препятствие эрозии почвы,  восстановление здоровья и плодородия почв за счет естественного увеличения углерода и органических веществ в почве, которые важны для процессов агрегации и восстановления частиц почвы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средней глинистой почве, содержащей 1,5-2% органического вещества почвы, зарегистрировано увеличение органического вещества на 1,6-3,8% в год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 15 лет урожай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а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может увеличить содержание органических веществ в почве на 55%. При каждом увеличении органического вещества на 1% способность удерживать влагу в почве (эффект губки) увеличивается на 3%, что делает эти культуры стратегическим инструментом управления рисками наводнений.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5BF0A45-F7FC-4C43-8A0B-6BB41EF2A18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535" t="20601" r="19536" b="41600"/>
          <a:stretch/>
        </p:blipFill>
        <p:spPr>
          <a:xfrm>
            <a:off x="9307006" y="1366904"/>
            <a:ext cx="2208245" cy="1656184"/>
          </a:xfrm>
          <a:prstGeom prst="rect">
            <a:avLst/>
          </a:prstGeom>
        </p:spPr>
      </p:pic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5E741EF3-15F6-4C8F-9B88-A9A51B9507D0}"/>
              </a:ext>
            </a:extLst>
          </p:cNvPr>
          <p:cNvGraphicFramePr>
            <a:graphicFrameLocks noGrp="1"/>
          </p:cNvGraphicFramePr>
          <p:nvPr/>
        </p:nvGraphicFramePr>
        <p:xfrm>
          <a:off x="7967466" y="4199157"/>
          <a:ext cx="3563200" cy="1889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2531">
                  <a:extLst>
                    <a:ext uri="{9D8B030D-6E8A-4147-A177-3AD203B41FA5}">
                      <a16:colId xmlns:a16="http://schemas.microsoft.com/office/drawing/2014/main" val="3664870649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592306634"/>
                    </a:ext>
                  </a:extLst>
                </a:gridCol>
                <a:gridCol w="933988">
                  <a:extLst>
                    <a:ext uri="{9D8B030D-6E8A-4147-A177-3AD203B41FA5}">
                      <a16:colId xmlns:a16="http://schemas.microsoft.com/office/drawing/2014/main" val="2991396621"/>
                    </a:ext>
                  </a:extLst>
                </a:gridCol>
                <a:gridCol w="740577">
                  <a:extLst>
                    <a:ext uri="{9D8B030D-6E8A-4147-A177-3AD203B41FA5}">
                      <a16:colId xmlns:a16="http://schemas.microsoft.com/office/drawing/2014/main" val="875133002"/>
                    </a:ext>
                  </a:extLst>
                </a:gridCol>
              </a:tblGrid>
              <a:tr h="185420">
                <a:tc>
                  <a:txBody>
                    <a:bodyPr/>
                    <a:lstStyle/>
                    <a:p>
                      <a:r>
                        <a:rPr lang="ru-RU" sz="1100" dirty="0"/>
                        <a:t>Слой почвы, см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Перед закладкой плантации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После 3-го года жизн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После 9-го года жизни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3468575"/>
                  </a:ext>
                </a:extLst>
              </a:tr>
              <a:tr h="185420">
                <a:tc>
                  <a:txBody>
                    <a:bodyPr/>
                    <a:lstStyle/>
                    <a:p>
                      <a:r>
                        <a:rPr lang="ru-RU" sz="1100" b="1" dirty="0"/>
                        <a:t>0-2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2,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2,7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3,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7832933"/>
                  </a:ext>
                </a:extLst>
              </a:tr>
              <a:tr h="211168">
                <a:tc>
                  <a:txBody>
                    <a:bodyPr/>
                    <a:lstStyle/>
                    <a:p>
                      <a:r>
                        <a:rPr lang="ru-RU" sz="1100" b="1" dirty="0"/>
                        <a:t>20-4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1,7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2,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2,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3037555"/>
                  </a:ext>
                </a:extLst>
              </a:tr>
              <a:tr h="255360">
                <a:tc>
                  <a:txBody>
                    <a:bodyPr/>
                    <a:lstStyle/>
                    <a:p>
                      <a:r>
                        <a:rPr lang="ru-RU" sz="1100" b="1" dirty="0"/>
                        <a:t>40-6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1,6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1,6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2,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511242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r>
                        <a:rPr lang="ru-RU" sz="1100" b="1" dirty="0"/>
                        <a:t>60-8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1,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1,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1,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6679415"/>
                  </a:ext>
                </a:extLst>
              </a:tr>
              <a:tr h="188208">
                <a:tc>
                  <a:txBody>
                    <a:bodyPr/>
                    <a:lstStyle/>
                    <a:p>
                      <a:r>
                        <a:rPr lang="ru-RU" sz="1100" b="1" dirty="0"/>
                        <a:t>80-10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1,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1,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1,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3828098"/>
                  </a:ext>
                </a:extLst>
              </a:tr>
            </a:tbl>
          </a:graphicData>
        </a:graphic>
      </p:graphicFrame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29FA5CA6-6DF1-45D9-B58B-F3CC7FF1BC9F}"/>
              </a:ext>
            </a:extLst>
          </p:cNvPr>
          <p:cNvSpPr/>
          <p:nvPr/>
        </p:nvSpPr>
        <p:spPr>
          <a:xfrm>
            <a:off x="7901641" y="3645024"/>
            <a:ext cx="362902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инамика содержания гумуса в метровом слое почвы при выращивании 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кантуса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гигантского.% </a:t>
            </a:r>
          </a:p>
        </p:txBody>
      </p:sp>
    </p:spTree>
    <p:extLst>
      <p:ext uri="{BB962C8B-B14F-4D97-AF65-F5344CB8AC3E}">
        <p14:creationId xmlns:p14="http://schemas.microsoft.com/office/powerpoint/2010/main" val="304161007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8613768-9BE9-48E5-A26D-5E6204139D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8913" y="697755"/>
            <a:ext cx="8474174" cy="5462489"/>
          </a:xfrm>
          <a:prstGeom prst="rect">
            <a:avLst/>
          </a:prstGeom>
        </p:spPr>
      </p:pic>
      <p:sp>
        <p:nvSpPr>
          <p:cNvPr id="1126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588496" y="6136679"/>
            <a:ext cx="2133600" cy="36512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algn="r"/>
            <a:fld id="{386440AF-1E30-4736-B835-2366F65E602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algn="r"/>
              <a:t>2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" name="Группа 6"/>
          <p:cNvGrpSpPr>
            <a:grpSpLocks/>
          </p:cNvGrpSpPr>
          <p:nvPr/>
        </p:nvGrpSpPr>
        <p:grpSpPr bwMode="auto">
          <a:xfrm>
            <a:off x="767408" y="158752"/>
            <a:ext cx="10801200" cy="461963"/>
            <a:chOff x="611560" y="159022"/>
            <a:chExt cx="8075240" cy="461666"/>
          </a:xfrm>
        </p:grpSpPr>
        <p:sp>
          <p:nvSpPr>
            <p:cNvPr id="6" name="TextBox 5"/>
            <p:cNvSpPr txBox="1">
              <a:spLocks noChangeArrowheads="1"/>
            </p:cNvSpPr>
            <p:nvPr/>
          </p:nvSpPr>
          <p:spPr bwMode="auto">
            <a:xfrm>
              <a:off x="615949" y="159172"/>
              <a:ext cx="8070851" cy="46136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eaLnBrk="1" hangingPunct="1">
                <a:defRPr/>
              </a:pPr>
              <a:r>
                <a:rPr lang="ru-RU" altLang="ru-RU" sz="2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         </a:t>
              </a:r>
              <a:r>
                <a:rPr lang="ru-RU" altLang="ru-RU" sz="22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Потенциальный масштаб сырьевой базы из </a:t>
              </a:r>
              <a:r>
                <a:rPr lang="ru-RU" altLang="ru-RU" sz="2200" b="1" dirty="0" err="1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Мискантуса</a:t>
              </a:r>
              <a:r>
                <a:rPr lang="ru-RU" altLang="ru-RU" sz="22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 и </a:t>
              </a:r>
              <a:r>
                <a:rPr lang="ru-RU" altLang="ru-RU" sz="2200" b="1" dirty="0" err="1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Павловнии</a:t>
              </a:r>
              <a:endParaRPr lang="ru-RU" altLang="ru-RU" sz="2200" b="1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7" name="Picture 7" descr="\\andritz.com\Unit\PPF\Sales\_Projects\Croatia\Q-028274_Pan_Papir_Miscanthus_Trial_offer\06_Meetings_Presentations\florid1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11560" y="159022"/>
              <a:ext cx="376845" cy="461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sp>
        <p:nvSpPr>
          <p:cNvPr id="10" name="Прямоугольник 9"/>
          <p:cNvSpPr/>
          <p:nvPr/>
        </p:nvSpPr>
        <p:spPr>
          <a:xfrm>
            <a:off x="695400" y="6081248"/>
            <a:ext cx="10585176" cy="688843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txBody>
          <a:bodyPr wrap="square">
            <a:spAutoFit/>
          </a:bodyPr>
          <a:lstStyle/>
          <a:p>
            <a:r>
              <a:rPr lang="ru-RU" sz="1292" dirty="0"/>
              <a:t>По нашим оценкам, в ближайшие 10 лет, на базе неиспользуемых земель с/х назначения в регионах присутствия и потенциально близких к целевым рынкам, возможно сформировать плантации для сырьевого обеспечения проектов развития мощностью  4 – 5 </a:t>
            </a:r>
            <a:r>
              <a:rPr lang="ru-RU" sz="1292" dirty="0" err="1"/>
              <a:t>млн.т</a:t>
            </a:r>
            <a:r>
              <a:rPr lang="ru-RU" sz="1292" dirty="0"/>
              <a:t>. в год. 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C2FE37DA-62B8-4DBC-B647-6379C45D2D6B}"/>
              </a:ext>
            </a:extLst>
          </p:cNvPr>
          <p:cNvSpPr/>
          <p:nvPr/>
        </p:nvSpPr>
        <p:spPr>
          <a:xfrm>
            <a:off x="1343472" y="862190"/>
            <a:ext cx="87233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7200" algn="ctr" fontAlgn="auto">
              <a:spcBef>
                <a:spcPts val="600"/>
              </a:spcBef>
              <a:spcAft>
                <a:spcPts val="0"/>
              </a:spcAft>
            </a:pPr>
            <a:r>
              <a:rPr lang="ru-RU" sz="2400" dirty="0">
                <a:solidFill>
                  <a:schemeClr val="accent3">
                    <a:lumMod val="50000"/>
                  </a:schemeClr>
                </a:solidFill>
                <a:latin typeface="Calibri"/>
              </a:rPr>
              <a:t>Альтернатива эвкалиптовому поясу </a:t>
            </a:r>
          </a:p>
        </p:txBody>
      </p:sp>
    </p:spTree>
    <p:extLst>
      <p:ext uri="{BB962C8B-B14F-4D97-AF65-F5344CB8AC3E}">
        <p14:creationId xmlns:p14="http://schemas.microsoft.com/office/powerpoint/2010/main" val="31599223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86" name="Рисунок 2">
            <a:extLst>
              <a:ext uri="{FF2B5EF4-FFF2-40B4-BE49-F238E27FC236}">
                <a16:creationId xmlns:a16="http://schemas.microsoft.com/office/drawing/2014/main" id="{FCB447A1-50D0-424F-ABA4-6CC54C08C10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785" t="15433" b="2188"/>
          <a:stretch/>
        </p:blipFill>
        <p:spPr bwMode="auto">
          <a:xfrm>
            <a:off x="8490742" y="1215427"/>
            <a:ext cx="2861841" cy="4877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Группа 6">
            <a:extLst>
              <a:ext uri="{FF2B5EF4-FFF2-40B4-BE49-F238E27FC236}">
                <a16:creationId xmlns:a16="http://schemas.microsoft.com/office/drawing/2014/main" id="{9142964E-6757-40AB-9D74-B03CFCD4CFE2}"/>
              </a:ext>
            </a:extLst>
          </p:cNvPr>
          <p:cNvGrpSpPr>
            <a:grpSpLocks/>
          </p:cNvGrpSpPr>
          <p:nvPr/>
        </p:nvGrpSpPr>
        <p:grpSpPr bwMode="auto">
          <a:xfrm>
            <a:off x="839417" y="260648"/>
            <a:ext cx="10513166" cy="461665"/>
            <a:chOff x="611560" y="159172"/>
            <a:chExt cx="8075240" cy="461369"/>
          </a:xfrm>
        </p:grpSpPr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A76E4D95-1303-4511-B2A1-3897E796505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5949" y="159172"/>
              <a:ext cx="8070851" cy="46136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eaLnBrk="1" hangingPunct="1">
                <a:defRPr/>
              </a:pPr>
              <a:r>
                <a:rPr lang="ru-RU" altLang="ru-RU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	</a:t>
              </a:r>
              <a:r>
                <a:rPr lang="ru-RU" altLang="ru-RU" sz="24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Производство бумаги и заготовка древесины</a:t>
              </a:r>
            </a:p>
          </p:txBody>
        </p:sp>
        <p:pic>
          <p:nvPicPr>
            <p:cNvPr id="6" name="Picture 7" descr="\\andritz.com\Unit\PPF\Sales\_Projects\Croatia\Q-028274_Pan_Papir_Miscanthus_Trial_offer\06_Meetings_Presentations\florid1.jpg">
              <a:extLst>
                <a:ext uri="{FF2B5EF4-FFF2-40B4-BE49-F238E27FC236}">
                  <a16:creationId xmlns:a16="http://schemas.microsoft.com/office/drawing/2014/main" id="{52D4DD0D-7E96-4A7E-AD9F-26F36F8207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11560" y="197619"/>
              <a:ext cx="387168" cy="3844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F322ED23-18A3-4792-8395-5B808B0430AF}"/>
              </a:ext>
            </a:extLst>
          </p:cNvPr>
          <p:cNvSpPr txBox="1">
            <a:spLocks/>
          </p:cNvSpPr>
          <p:nvPr/>
        </p:nvSpPr>
        <p:spPr>
          <a:xfrm>
            <a:off x="1343094" y="1232034"/>
            <a:ext cx="6913146" cy="5077286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/>
              <a:t>30-40% заготовленной древесины в мире идет на производство бумаги.</a:t>
            </a:r>
          </a:p>
          <a:p>
            <a:r>
              <a:rPr lang="ru-RU" sz="2800" dirty="0"/>
              <a:t>Мировое потребление бумажной продукции в ХХ веке возросло в 20 раз (</a:t>
            </a:r>
            <a:r>
              <a:rPr lang="en-US" sz="28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orld Watch Institute</a:t>
            </a:r>
            <a:r>
              <a:rPr lang="ru-RU" sz="2800" dirty="0"/>
              <a:t>).</a:t>
            </a:r>
          </a:p>
          <a:p>
            <a:r>
              <a:rPr lang="en-US" sz="2800" dirty="0"/>
              <a:t>71% </a:t>
            </a:r>
            <a:r>
              <a:rPr lang="ru-RU" sz="2800" dirty="0"/>
              <a:t>древесины, идущей на производство бумаги, заготавливается в лесах, имеющих высокую природоохранную ценность с высоким биоразнообразием (</a:t>
            </a:r>
            <a:r>
              <a:rPr lang="en-US" sz="28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orld Business Council for Sustainable Development</a:t>
            </a:r>
            <a:r>
              <a:rPr lang="ru-RU" sz="2800" dirty="0"/>
              <a:t>)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ADF9461-6D64-4712-A926-E280026C8DF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7000"/>
                    </a14:imgEffect>
                  </a14:imgLayer>
                </a14:imgProps>
              </a:ext>
            </a:extLst>
          </a:blip>
          <a:srcRect l="1828" t="2446" r="91687" b="87104"/>
          <a:stretch/>
        </p:blipFill>
        <p:spPr>
          <a:xfrm>
            <a:off x="611551" y="1249822"/>
            <a:ext cx="731543" cy="883033"/>
          </a:xfrm>
          <a:prstGeom prst="rect">
            <a:avLst/>
          </a:prstGeom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DF47B03-4DDD-4B7B-B5D4-8F226499FD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40" y="980728"/>
            <a:ext cx="10961558" cy="585267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50D5B00-72C4-4759-97DF-EDD5A45643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2542" y="1988840"/>
            <a:ext cx="11209554" cy="3157012"/>
          </a:xfrm>
          <a:prstGeom prst="rect">
            <a:avLst/>
          </a:prstGeom>
        </p:spPr>
      </p:pic>
      <p:sp>
        <p:nvSpPr>
          <p:cNvPr id="5" name="TextBox 5">
            <a:extLst>
              <a:ext uri="{FF2B5EF4-FFF2-40B4-BE49-F238E27FC236}">
                <a16:creationId xmlns:a16="http://schemas.microsoft.com/office/drawing/2014/main" id="{D50D4D1B-1E9A-454B-B576-3459B748EC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0716" y="158902"/>
            <a:ext cx="10209860" cy="46166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 contourW="12700" prstMaterial="dkEdge">
            <a:bevelT/>
            <a:bevelB/>
            <a:contourClr>
              <a:schemeClr val="bg1"/>
            </a:contourClr>
          </a:sp3d>
        </p:spPr>
        <p:txBody>
          <a:bodyPr wrap="square" anchor="ctr">
            <a:spAutoFit/>
          </a:bodyPr>
          <a:lstStyle/>
          <a:p>
            <a:pPr eaLnBrk="1" hangingPunct="1">
              <a:defRPr/>
            </a:pPr>
            <a:r>
              <a:rPr lang="ru-RU" alt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altLang="ru-RU" sz="2200" b="1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Пилотный региональный проект </a:t>
            </a:r>
            <a:r>
              <a:rPr lang="ru-RU" altLang="ru-RU" sz="2200" b="1" dirty="0" err="1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искантус</a:t>
            </a:r>
            <a:r>
              <a:rPr lang="ru-RU" altLang="ru-RU" sz="2200" b="1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и </a:t>
            </a:r>
            <a:r>
              <a:rPr lang="ru-RU" altLang="ru-RU" sz="2200" b="1" dirty="0" err="1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авловния</a:t>
            </a:r>
            <a:endParaRPr lang="ru-RU" altLang="ru-RU" sz="2200" b="1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6" name="Picture 7" descr="\\andritz.com\Unit\PPF\Sales\_Projects\Croatia\Q-028274_Pan_Papir_Miscanthus_Trial_offer\06_Meetings_Presentations\florid1.jpg">
            <a:extLst>
              <a:ext uri="{FF2B5EF4-FFF2-40B4-BE49-F238E27FC236}">
                <a16:creationId xmlns:a16="http://schemas.microsoft.com/office/drawing/2014/main" id="{FDDE2AE4-0473-4BC4-9172-58FDCE679E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70716" y="178920"/>
            <a:ext cx="648072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63500"/>
          </a:effectLst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6374687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DF47B03-4DDD-4B7B-B5D4-8F226499FD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221" y="356196"/>
            <a:ext cx="10961558" cy="585267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7877AD3-D444-435C-97C3-CA016A62FA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400" y="1268760"/>
            <a:ext cx="3913971" cy="29873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2B43247-DEBF-469B-BBE3-400E2C338D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5221" y="1853842"/>
            <a:ext cx="10961558" cy="4095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36663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DF47B03-4DDD-4B7B-B5D4-8F226499FD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221" y="356196"/>
            <a:ext cx="10961558" cy="585267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CED9F0E-FF47-4955-9B80-DD0E9078A7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2644" y="1446166"/>
            <a:ext cx="7404135" cy="2342874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0FD3CDF-2410-4680-92A6-B225EF9C1E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5221" y="1880492"/>
            <a:ext cx="2909889" cy="1093093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E95639E-A188-416F-A0A5-4D282EB9FD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5550" y="1080777"/>
            <a:ext cx="3913971" cy="29873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0832AEF-4B96-4110-B44F-6EDEC3B30D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19464" y="4005064"/>
            <a:ext cx="7457315" cy="2203484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D08B2C8-DDCA-4ECC-B09D-7CECD1E432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361" y="5158916"/>
            <a:ext cx="3488407" cy="177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19382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8" name="Rectangle 10"/>
          <p:cNvSpPr>
            <a:spLocks noGrp="1" noChangeArrowheads="1"/>
          </p:cNvSpPr>
          <p:nvPr>
            <p:ph type="title"/>
          </p:nvPr>
        </p:nvSpPr>
        <p:spPr>
          <a:xfrm>
            <a:off x="551384" y="908720"/>
            <a:ext cx="10801200" cy="3744416"/>
          </a:xfrm>
        </p:spPr>
        <p:txBody>
          <a:bodyPr/>
          <a:lstStyle/>
          <a:p>
            <a:r>
              <a:rPr lang="ru-RU" altLang="ru-RU" sz="6000" b="1" dirty="0" err="1">
                <a:solidFill>
                  <a:schemeClr val="bg2">
                    <a:lumMod val="50000"/>
                  </a:schemeClr>
                </a:solidFill>
              </a:rPr>
              <a:t>Мискантус</a:t>
            </a:r>
            <a:r>
              <a:rPr lang="ru-RU" altLang="ru-RU" sz="6000" b="1" dirty="0">
                <a:solidFill>
                  <a:schemeClr val="bg2">
                    <a:lumMod val="50000"/>
                  </a:schemeClr>
                </a:solidFill>
              </a:rPr>
              <a:t> + </a:t>
            </a:r>
            <a:r>
              <a:rPr lang="ru-RU" altLang="ru-RU" sz="6000" b="1" dirty="0" err="1">
                <a:solidFill>
                  <a:schemeClr val="bg2">
                    <a:lumMod val="50000"/>
                  </a:schemeClr>
                </a:solidFill>
              </a:rPr>
              <a:t>Павловния</a:t>
            </a:r>
            <a:r>
              <a:rPr lang="ru-RU" altLang="ru-RU" sz="6000" b="1" dirty="0">
                <a:solidFill>
                  <a:schemeClr val="bg2">
                    <a:lumMod val="50000"/>
                  </a:schemeClr>
                </a:solidFill>
              </a:rPr>
              <a:t>:</a:t>
            </a:r>
            <a:br>
              <a:rPr lang="ru-RU" altLang="ru-RU" b="1" dirty="0"/>
            </a:br>
            <a:r>
              <a:rPr lang="ru-RU" altLang="ru-RU" sz="5400" b="1" dirty="0"/>
              <a:t>выращивание </a:t>
            </a:r>
            <a:r>
              <a:rPr lang="ru-RU" altLang="ru-RU" sz="5400" b="1" dirty="0">
                <a:solidFill>
                  <a:srgbClr val="00B050"/>
                </a:solidFill>
              </a:rPr>
              <a:t>экологически чистого </a:t>
            </a:r>
            <a:r>
              <a:rPr lang="ru-RU" altLang="ru-RU" sz="5400" b="1" dirty="0"/>
              <a:t>будущего</a:t>
            </a: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E28182EA-7974-415F-8A63-C52F0B7C0E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91544" y="4797152"/>
            <a:ext cx="8208912" cy="1440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ru-RU" altLang="ru-RU" dirty="0"/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14621163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6">
            <a:extLst>
              <a:ext uri="{FF2B5EF4-FFF2-40B4-BE49-F238E27FC236}">
                <a16:creationId xmlns:a16="http://schemas.microsoft.com/office/drawing/2014/main" id="{697BDF93-EF3A-4553-9941-414B666822B1}"/>
              </a:ext>
            </a:extLst>
          </p:cNvPr>
          <p:cNvGrpSpPr>
            <a:grpSpLocks/>
          </p:cNvGrpSpPr>
          <p:nvPr/>
        </p:nvGrpSpPr>
        <p:grpSpPr bwMode="auto">
          <a:xfrm>
            <a:off x="839417" y="260648"/>
            <a:ext cx="10513166" cy="461665"/>
            <a:chOff x="611560" y="159172"/>
            <a:chExt cx="8075240" cy="461369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6958E01C-4189-42EA-9EEB-4A9CB2497D6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5949" y="159172"/>
              <a:ext cx="8070851" cy="46136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eaLnBrk="1" hangingPunct="1">
                <a:defRPr/>
              </a:pPr>
              <a:r>
                <a:rPr lang="ru-RU" altLang="ru-RU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	</a:t>
              </a:r>
              <a:r>
                <a:rPr lang="ru-RU" altLang="ru-RU" sz="24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Экологические проблемы в ЦБП</a:t>
              </a:r>
            </a:p>
          </p:txBody>
        </p:sp>
        <p:pic>
          <p:nvPicPr>
            <p:cNvPr id="5" name="Picture 7" descr="\\andritz.com\Unit\PPF\Sales\_Projects\Croatia\Q-028274_Pan_Papir_Miscanthus_Trial_offer\06_Meetings_Presentations\florid1.jpg">
              <a:extLst>
                <a:ext uri="{FF2B5EF4-FFF2-40B4-BE49-F238E27FC236}">
                  <a16:creationId xmlns:a16="http://schemas.microsoft.com/office/drawing/2014/main" id="{B704C298-C0BD-491C-840B-FD89CFA59A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611560" y="197619"/>
              <a:ext cx="387168" cy="3844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DE1F5E8-CE23-4058-A96A-471D260ACE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2024" y="1052736"/>
            <a:ext cx="4616605" cy="1496899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72B5C85-96F6-41DF-AC2A-7DBA30460D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12024" y="2785487"/>
            <a:ext cx="4627097" cy="148853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A49CEE7-5D1D-4AFE-BAB6-657FFE09E2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33206" y="4509874"/>
            <a:ext cx="4613054" cy="1488535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CFF5F38-DCD0-45DD-933C-4A5239A98A31}"/>
              </a:ext>
            </a:extLst>
          </p:cNvPr>
          <p:cNvSpPr/>
          <p:nvPr/>
        </p:nvSpPr>
        <p:spPr>
          <a:xfrm>
            <a:off x="1351456" y="1539575"/>
            <a:ext cx="212397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latin typeface="+mn-lt"/>
              </a:rPr>
              <a:t>Вырубка лесов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12C1A09-6432-42F5-BC97-AC9081D87FB9}"/>
              </a:ext>
            </a:extLst>
          </p:cNvPr>
          <p:cNvSpPr/>
          <p:nvPr/>
        </p:nvSpPr>
        <p:spPr>
          <a:xfrm>
            <a:off x="1351456" y="2836367"/>
            <a:ext cx="433717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+mn-lt"/>
              </a:rPr>
              <a:t>Выбросы в атмосферу оксидированных серных</a:t>
            </a:r>
          </a:p>
          <a:p>
            <a:r>
              <a:rPr lang="ru-RU" sz="2400" dirty="0">
                <a:latin typeface="+mn-lt"/>
              </a:rPr>
              <a:t>соединении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FBED491-3D43-4BB0-A511-741EE2BC49DB}"/>
              </a:ext>
            </a:extLst>
          </p:cNvPr>
          <p:cNvSpPr/>
          <p:nvPr/>
        </p:nvSpPr>
        <p:spPr>
          <a:xfrm>
            <a:off x="1332145" y="4561643"/>
            <a:ext cx="414046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+mn-lt"/>
              </a:rPr>
              <a:t>Загрязнение воды около целлюлозно-бумажных комбинатов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8086D021-FEF5-4D15-92C2-BA251B1EA1EB}"/>
              </a:ext>
            </a:extLst>
          </p:cNvPr>
          <p:cNvSpPr/>
          <p:nvPr/>
        </p:nvSpPr>
        <p:spPr>
          <a:xfrm>
            <a:off x="1359024" y="6298848"/>
            <a:ext cx="495300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/>
              <a:t>ИСТОЧНИК: </a:t>
            </a:r>
            <a:r>
              <a:rPr lang="en-US" sz="900" dirty="0"/>
              <a:t>PwC</a:t>
            </a:r>
            <a:endParaRPr lang="ru-RU" sz="900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6">
            <a:extLst>
              <a:ext uri="{FF2B5EF4-FFF2-40B4-BE49-F238E27FC236}">
                <a16:creationId xmlns:a16="http://schemas.microsoft.com/office/drawing/2014/main" id="{697BDF93-EF3A-4553-9941-414B666822B1}"/>
              </a:ext>
            </a:extLst>
          </p:cNvPr>
          <p:cNvGrpSpPr>
            <a:grpSpLocks/>
          </p:cNvGrpSpPr>
          <p:nvPr/>
        </p:nvGrpSpPr>
        <p:grpSpPr bwMode="auto">
          <a:xfrm>
            <a:off x="839417" y="260648"/>
            <a:ext cx="10513166" cy="461665"/>
            <a:chOff x="611560" y="159172"/>
            <a:chExt cx="8075240" cy="461369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6958E01C-4189-42EA-9EEB-4A9CB2497D6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5949" y="159172"/>
              <a:ext cx="8070851" cy="46136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eaLnBrk="1" hangingPunct="1">
                <a:defRPr/>
              </a:pPr>
              <a:r>
                <a:rPr lang="ru-RU" altLang="ru-RU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	</a:t>
              </a:r>
              <a:r>
                <a:rPr lang="ru-RU" altLang="ru-RU" sz="24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Мировые экологические тенденции в ЦБП</a:t>
              </a:r>
            </a:p>
          </p:txBody>
        </p:sp>
        <p:pic>
          <p:nvPicPr>
            <p:cNvPr id="5" name="Picture 7" descr="\\andritz.com\Unit\PPF\Sales\_Projects\Croatia\Q-028274_Pan_Papir_Miscanthus_Trial_offer\06_Meetings_Presentations\florid1.jpg">
              <a:extLst>
                <a:ext uri="{FF2B5EF4-FFF2-40B4-BE49-F238E27FC236}">
                  <a16:creationId xmlns:a16="http://schemas.microsoft.com/office/drawing/2014/main" id="{B704C298-C0BD-491C-840B-FD89CFA59A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611560" y="197619"/>
              <a:ext cx="387168" cy="3844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8086D021-FEF5-4D15-92C2-BA251B1EA1EB}"/>
              </a:ext>
            </a:extLst>
          </p:cNvPr>
          <p:cNvSpPr/>
          <p:nvPr/>
        </p:nvSpPr>
        <p:spPr>
          <a:xfrm>
            <a:off x="1118323" y="6298848"/>
            <a:ext cx="495300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/>
              <a:t>ИСТОЧНИК: </a:t>
            </a:r>
            <a:r>
              <a:rPr lang="en-US" sz="900" dirty="0"/>
              <a:t>PwC</a:t>
            </a:r>
            <a:endParaRPr lang="ru-RU" sz="900" dirty="0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8545CC09-EB4C-4739-804C-E8FF7866B7D6}"/>
              </a:ext>
            </a:extLst>
          </p:cNvPr>
          <p:cNvSpPr/>
          <p:nvPr/>
        </p:nvSpPr>
        <p:spPr>
          <a:xfrm>
            <a:off x="3359696" y="5951021"/>
            <a:ext cx="7992887" cy="646331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txBody>
          <a:bodyPr wrap="square">
            <a:spAutoFit/>
          </a:bodyPr>
          <a:lstStyle/>
          <a:p>
            <a:r>
              <a:rPr lang="ru-RU" dirty="0"/>
              <a:t>Конкуренция за ресурсы (объем лесных массивов сокращается с каждым годом), это создает дефицит ресурса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4A9864D-8A54-49AE-A9E8-595A46F014FD}"/>
              </a:ext>
            </a:extLst>
          </p:cNvPr>
          <p:cNvSpPr txBox="1">
            <a:spLocks/>
          </p:cNvSpPr>
          <p:nvPr/>
        </p:nvSpPr>
        <p:spPr>
          <a:xfrm>
            <a:off x="2927648" y="1045360"/>
            <a:ext cx="8497323" cy="4579928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/>
              <a:t>Рост интереса западных стран на возобновляемую энергию и биотопливо;</a:t>
            </a:r>
          </a:p>
          <a:p>
            <a:r>
              <a:rPr lang="ru-RU" sz="2800" dirty="0"/>
              <a:t>Увеличение использования биотоплива	и продуктов органической химии из волокон древесины;</a:t>
            </a:r>
          </a:p>
          <a:p>
            <a:r>
              <a:rPr lang="ru-RU" sz="2800" dirty="0"/>
              <a:t>Целлюлоза – увеличение производства из-за роста спроса на средства гигиены на развивающихся рынках;</a:t>
            </a:r>
          </a:p>
          <a:p>
            <a:r>
              <a:rPr lang="ru-RU" sz="2800" dirty="0"/>
              <a:t>Все больше лесных ресурсов необходимо для обеспечения спроса на древесное волокно для производства биотоплива.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494E677-BEB7-4BE2-8FFC-A9D083CB3C4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8653"/>
          <a:stretch/>
        </p:blipFill>
        <p:spPr>
          <a:xfrm>
            <a:off x="867873" y="1140914"/>
            <a:ext cx="1809325" cy="1588275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82BA6210-4567-4890-BFA1-EC5E1C75215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310" t="3908" r="3871" b="5534"/>
          <a:stretch/>
        </p:blipFill>
        <p:spPr>
          <a:xfrm>
            <a:off x="867873" y="4142402"/>
            <a:ext cx="1809325" cy="1518846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A1F10FC2-1668-40CD-B329-2FB9A87043D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9091" b="6744"/>
          <a:stretch/>
        </p:blipFill>
        <p:spPr>
          <a:xfrm>
            <a:off x="867873" y="2827066"/>
            <a:ext cx="1809325" cy="120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742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6">
            <a:extLst>
              <a:ext uri="{FF2B5EF4-FFF2-40B4-BE49-F238E27FC236}">
                <a16:creationId xmlns:a16="http://schemas.microsoft.com/office/drawing/2014/main" id="{A308B5D6-8DF0-4C73-85A9-832118279C27}"/>
              </a:ext>
            </a:extLst>
          </p:cNvPr>
          <p:cNvGrpSpPr>
            <a:grpSpLocks/>
          </p:cNvGrpSpPr>
          <p:nvPr/>
        </p:nvGrpSpPr>
        <p:grpSpPr bwMode="auto">
          <a:xfrm>
            <a:off x="839417" y="260648"/>
            <a:ext cx="10513166" cy="461665"/>
            <a:chOff x="611560" y="159172"/>
            <a:chExt cx="8075240" cy="461369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E11D1A4A-1261-4236-8653-46033CEDB96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5949" y="159172"/>
              <a:ext cx="8070851" cy="46136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eaLnBrk="1" hangingPunct="1">
                <a:defRPr/>
              </a:pPr>
              <a:r>
                <a:rPr lang="ru-RU" altLang="ru-RU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	</a:t>
              </a:r>
              <a:r>
                <a:rPr lang="ru-RU" altLang="ru-RU" sz="24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Стратегия </a:t>
              </a:r>
              <a:r>
                <a:rPr lang="en-US" altLang="ru-RU" sz="24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WWF </a:t>
              </a:r>
              <a:r>
                <a:rPr lang="ru-RU" altLang="ru-RU" sz="24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по трансформации ЦБП и рынка</a:t>
              </a:r>
            </a:p>
          </p:txBody>
        </p:sp>
        <p:pic>
          <p:nvPicPr>
            <p:cNvPr id="5" name="Picture 7" descr="\\andritz.com\Unit\PPF\Sales\_Projects\Croatia\Q-028274_Pan_Papir_Miscanthus_Trial_offer\06_Meetings_Presentations\florid1.jpg">
              <a:extLst>
                <a:ext uri="{FF2B5EF4-FFF2-40B4-BE49-F238E27FC236}">
                  <a16:creationId xmlns:a16="http://schemas.microsoft.com/office/drawing/2014/main" id="{F7310415-3F89-44B6-B586-CF561B0E3E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611560" y="197619"/>
              <a:ext cx="387168" cy="3844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5E51506-4DA7-49F1-96C9-EB5EF4CC347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7000"/>
                    </a14:imgEffect>
                  </a14:imgLayer>
                </a14:imgProps>
              </a:ext>
            </a:extLst>
          </a:blip>
          <a:srcRect l="1828" t="2446" r="91687" b="87104"/>
          <a:stretch/>
        </p:blipFill>
        <p:spPr>
          <a:xfrm>
            <a:off x="611551" y="1249822"/>
            <a:ext cx="731543" cy="883033"/>
          </a:xfrm>
          <a:prstGeom prst="rect">
            <a:avLst/>
          </a:prstGeom>
        </p:spPr>
      </p:pic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FB75846B-C5FD-460D-8829-714D84678D4B}"/>
              </a:ext>
            </a:extLst>
          </p:cNvPr>
          <p:cNvSpPr txBox="1">
            <a:spLocks/>
          </p:cNvSpPr>
          <p:nvPr/>
        </p:nvSpPr>
        <p:spPr>
          <a:xfrm>
            <a:off x="1559496" y="1232034"/>
            <a:ext cx="9793086" cy="4579928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/>
              <a:t>Существующие и проектируемые ЦБК не должны разрушать леса высокой природоохранной ценности в приоритетных </a:t>
            </a:r>
            <a:r>
              <a:rPr lang="ru-RU" sz="2800" dirty="0" err="1"/>
              <a:t>экорегионах</a:t>
            </a:r>
            <a:r>
              <a:rPr lang="ru-RU" sz="2800" dirty="0"/>
              <a:t>.</a:t>
            </a:r>
          </a:p>
          <a:p>
            <a:r>
              <a:rPr lang="ru-RU" sz="2800" dirty="0"/>
              <a:t>Более широкое использование «плантаций нового поколения» для производства целлюлозного сырья.</a:t>
            </a:r>
          </a:p>
          <a:p>
            <a:r>
              <a:rPr lang="ru-RU" sz="2800" dirty="0"/>
              <a:t>Ответственное потребление: Потребители бумаги переходят на использование продукции с наименьшим экологическим следом.</a:t>
            </a:r>
          </a:p>
          <a:p>
            <a:r>
              <a:rPr lang="ru-RU" sz="2800" dirty="0"/>
              <a:t>Свободный доступ к бумажной продукции повсеместно при снижении ее расточительного потребления.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Группа 6">
            <a:extLst>
              <a:ext uri="{FF2B5EF4-FFF2-40B4-BE49-F238E27FC236}">
                <a16:creationId xmlns:a16="http://schemas.microsoft.com/office/drawing/2014/main" id="{60C984FC-C86E-44AA-A60E-FC621EA01723}"/>
              </a:ext>
            </a:extLst>
          </p:cNvPr>
          <p:cNvGrpSpPr>
            <a:grpSpLocks/>
          </p:cNvGrpSpPr>
          <p:nvPr/>
        </p:nvGrpSpPr>
        <p:grpSpPr bwMode="auto">
          <a:xfrm>
            <a:off x="839417" y="237132"/>
            <a:ext cx="10513166" cy="461665"/>
            <a:chOff x="611560" y="159172"/>
            <a:chExt cx="8075240" cy="461368"/>
          </a:xfrm>
        </p:grpSpPr>
        <p:sp>
          <p:nvSpPr>
            <p:cNvPr id="21" name="TextBox 5">
              <a:extLst>
                <a:ext uri="{FF2B5EF4-FFF2-40B4-BE49-F238E27FC236}">
                  <a16:creationId xmlns:a16="http://schemas.microsoft.com/office/drawing/2014/main" id="{CA3573EC-93E3-4D3B-9143-0C5941D73C0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5949" y="159172"/>
              <a:ext cx="8070851" cy="46136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eaLnBrk="1" hangingPunct="1">
                <a:defRPr/>
              </a:pPr>
              <a:r>
                <a:rPr lang="ru-RU" altLang="ru-RU" sz="24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	Стратегическая задача Российского ЦБП</a:t>
              </a:r>
            </a:p>
          </p:txBody>
        </p:sp>
        <p:pic>
          <p:nvPicPr>
            <p:cNvPr id="22" name="Picture 7" descr="\\andritz.com\Unit\PPF\Sales\_Projects\Croatia\Q-028274_Pan_Papir_Miscanthus_Trial_offer\06_Meetings_Presentations\florid1.jpg">
              <a:extLst>
                <a:ext uri="{FF2B5EF4-FFF2-40B4-BE49-F238E27FC236}">
                  <a16:creationId xmlns:a16="http://schemas.microsoft.com/office/drawing/2014/main" id="{AF143FDA-3399-40C1-BE96-D73F79F543E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611560" y="197619"/>
              <a:ext cx="387168" cy="3844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ADC55868-EC22-45CE-8EB5-414CEE38BF67}"/>
              </a:ext>
            </a:extLst>
          </p:cNvPr>
          <p:cNvSpPr/>
          <p:nvPr/>
        </p:nvSpPr>
        <p:spPr>
          <a:xfrm>
            <a:off x="849786" y="6343870"/>
            <a:ext cx="4953000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900" dirty="0"/>
              <a:t>ИСТОЧНИК: </a:t>
            </a:r>
            <a:r>
              <a:rPr lang="en-US" sz="900" dirty="0"/>
              <a:t>Forest Stewardship Council</a:t>
            </a:r>
            <a:endParaRPr lang="ru-RU" sz="900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5A6EB2C4-56E0-4CCB-88AB-13C0D8FA827F}"/>
              </a:ext>
            </a:extLst>
          </p:cNvPr>
          <p:cNvSpPr/>
          <p:nvPr/>
        </p:nvSpPr>
        <p:spPr>
          <a:xfrm>
            <a:off x="2171564" y="1064453"/>
            <a:ext cx="78488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В условиях дефицита леса во многих регионах мира вследствие развития биоэнергетики к 2025-2030 </a:t>
            </a:r>
            <a:r>
              <a:rPr lang="ru-RU" dirty="0" err="1"/>
              <a:t>гг</a:t>
            </a:r>
            <a:r>
              <a:rPr lang="ru-RU" dirty="0"/>
              <a:t>: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084CA1E-4E2A-49B5-8776-0E2F29CEE8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85547" b="83269"/>
          <a:stretch/>
        </p:blipFill>
        <p:spPr>
          <a:xfrm>
            <a:off x="699367" y="908720"/>
            <a:ext cx="1288210" cy="1120995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9838E48-4920-4D28-A1BA-521113677CC0}"/>
              </a:ext>
            </a:extLst>
          </p:cNvPr>
          <p:cNvSpPr/>
          <p:nvPr/>
        </p:nvSpPr>
        <p:spPr>
          <a:xfrm>
            <a:off x="2855640" y="4238240"/>
            <a:ext cx="741682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6600"/>
                </a:solidFill>
              </a:rPr>
              <a:t>Зеленая экономика </a:t>
            </a:r>
            <a:r>
              <a:rPr lang="ru-RU" sz="1600" dirty="0">
                <a:solidFill>
                  <a:srgbClr val="006600"/>
                </a:solidFill>
              </a:rPr>
              <a:t>основана на следующих принципах:</a:t>
            </a:r>
          </a:p>
          <a:p>
            <a:pPr marL="742898" lvl="1" indent="-285750">
              <a:buFont typeface="Wingdings" panose="05000000000000000000" pitchFamily="2" charset="2"/>
              <a:buChar char="v"/>
            </a:pPr>
            <a:r>
              <a:rPr lang="ru-RU" sz="1600" dirty="0">
                <a:solidFill>
                  <a:srgbClr val="006600"/>
                </a:solidFill>
              </a:rPr>
              <a:t>эффективном использовании возобновляемых устойчиво используемых ресурсов;</a:t>
            </a:r>
          </a:p>
          <a:p>
            <a:pPr marL="742898" lvl="1" indent="-285750">
              <a:buFont typeface="Wingdings" panose="05000000000000000000" pitchFamily="2" charset="2"/>
              <a:buChar char="v"/>
            </a:pPr>
            <a:r>
              <a:rPr lang="ru-RU" sz="1600" dirty="0">
                <a:solidFill>
                  <a:srgbClr val="006600"/>
                </a:solidFill>
              </a:rPr>
              <a:t>минимизации воздействия на окружающую среду;</a:t>
            </a:r>
          </a:p>
          <a:p>
            <a:pPr marL="742898" lvl="1" indent="-285750">
              <a:buFont typeface="Wingdings" panose="05000000000000000000" pitchFamily="2" charset="2"/>
              <a:buChar char="v"/>
            </a:pPr>
            <a:r>
              <a:rPr lang="ru-RU" sz="1600" dirty="0">
                <a:solidFill>
                  <a:srgbClr val="006600"/>
                </a:solidFill>
              </a:rPr>
              <a:t>максимальном использовании вторичных ресурсов;</a:t>
            </a:r>
          </a:p>
          <a:p>
            <a:pPr marL="742898" lvl="1" indent="-285750">
              <a:buFont typeface="Wingdings" panose="05000000000000000000" pitchFamily="2" charset="2"/>
              <a:buChar char="v"/>
            </a:pPr>
            <a:r>
              <a:rPr lang="ru-RU" sz="1600" dirty="0">
                <a:solidFill>
                  <a:srgbClr val="006600"/>
                </a:solidFill>
              </a:rPr>
              <a:t>снижении углеродного следа;</a:t>
            </a:r>
          </a:p>
          <a:p>
            <a:pPr marL="742898" lvl="1" indent="-285750">
              <a:buFont typeface="Wingdings" panose="05000000000000000000" pitchFamily="2" charset="2"/>
              <a:buChar char="v"/>
            </a:pPr>
            <a:r>
              <a:rPr lang="ru-RU" sz="1600" dirty="0">
                <a:solidFill>
                  <a:srgbClr val="006600"/>
                </a:solidFill>
              </a:rPr>
              <a:t>сохранении биологического разнообразия.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149CFFE-E55C-4687-BEA4-FAE0E9AF09F6}"/>
              </a:ext>
            </a:extLst>
          </p:cNvPr>
          <p:cNvSpPr/>
          <p:nvPr/>
        </p:nvSpPr>
        <p:spPr>
          <a:xfrm>
            <a:off x="2423592" y="1810403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Существенно большая интеграция Российского ЦБП в мировую экономику;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55B5BCE8-BD16-4F84-B9C3-1EAC4F581604}"/>
              </a:ext>
            </a:extLst>
          </p:cNvPr>
          <p:cNvSpPr/>
          <p:nvPr/>
        </p:nvSpPr>
        <p:spPr>
          <a:xfrm>
            <a:off x="2423592" y="3429000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Встраивание Российского ЦБП в тренды будущей зеленой экономики.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D009385-7F98-4B47-8ADA-60E05ABE08EE}"/>
              </a:ext>
            </a:extLst>
          </p:cNvPr>
          <p:cNvSpPr/>
          <p:nvPr/>
        </p:nvSpPr>
        <p:spPr>
          <a:xfrm>
            <a:off x="2855640" y="2575526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dirty="0"/>
              <a:t>Интеграция в мировую экономику связана с минимизацией любых, в том числе экологических рисков для ЦБП</a:t>
            </a:r>
          </a:p>
        </p:txBody>
      </p:sp>
    </p:spTree>
    <p:extLst>
      <p:ext uri="{BB962C8B-B14F-4D97-AF65-F5344CB8AC3E}">
        <p14:creationId xmlns:p14="http://schemas.microsoft.com/office/powerpoint/2010/main" val="26887989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5015880" y="6164274"/>
            <a:ext cx="7056784" cy="49000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txBody>
          <a:bodyPr wrap="square">
            <a:spAutoFit/>
          </a:bodyPr>
          <a:lstStyle/>
          <a:p>
            <a:r>
              <a:rPr lang="ru-RU" sz="1292" dirty="0"/>
              <a:t>Прирост спроса 133 </a:t>
            </a:r>
            <a:r>
              <a:rPr lang="ru-RU" sz="1292" dirty="0" err="1"/>
              <a:t>млн.тонн</a:t>
            </a:r>
            <a:r>
              <a:rPr lang="ru-RU" sz="1292" dirty="0"/>
              <a:t>. Наиболее привлекательный сегмент для российского ЦБП – производство товарной целлюлозы, макулатурного, потребительского картона и СГИ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839417" y="3604762"/>
            <a:ext cx="53903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рирост спроса на Мировом Рынке к 2030г. (</a:t>
            </a:r>
            <a:r>
              <a:rPr lang="ru-RU" sz="12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млн.т</a:t>
            </a:r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в год)</a:t>
            </a:r>
          </a:p>
        </p:txBody>
      </p:sp>
      <p:grpSp>
        <p:nvGrpSpPr>
          <p:cNvPr id="20" name="Группа 6">
            <a:extLst>
              <a:ext uri="{FF2B5EF4-FFF2-40B4-BE49-F238E27FC236}">
                <a16:creationId xmlns:a16="http://schemas.microsoft.com/office/drawing/2014/main" id="{60C984FC-C86E-44AA-A60E-FC621EA01723}"/>
              </a:ext>
            </a:extLst>
          </p:cNvPr>
          <p:cNvGrpSpPr>
            <a:grpSpLocks/>
          </p:cNvGrpSpPr>
          <p:nvPr/>
        </p:nvGrpSpPr>
        <p:grpSpPr bwMode="auto">
          <a:xfrm>
            <a:off x="839417" y="188640"/>
            <a:ext cx="10513166" cy="461665"/>
            <a:chOff x="611560" y="159172"/>
            <a:chExt cx="8075240" cy="461368"/>
          </a:xfrm>
        </p:grpSpPr>
        <p:sp>
          <p:nvSpPr>
            <p:cNvPr id="21" name="TextBox 5">
              <a:extLst>
                <a:ext uri="{FF2B5EF4-FFF2-40B4-BE49-F238E27FC236}">
                  <a16:creationId xmlns:a16="http://schemas.microsoft.com/office/drawing/2014/main" id="{CA3573EC-93E3-4D3B-9143-0C5941D73C0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5949" y="159172"/>
              <a:ext cx="8070851" cy="46136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eaLnBrk="1" hangingPunct="1">
                <a:defRPr/>
              </a:pPr>
              <a:r>
                <a:rPr lang="ru-RU" altLang="ru-RU" sz="24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	Глобальные тренды и возможности для ЦБП</a:t>
              </a:r>
            </a:p>
          </p:txBody>
        </p:sp>
        <p:pic>
          <p:nvPicPr>
            <p:cNvPr id="22" name="Picture 7" descr="\\andritz.com\Unit\PPF\Sales\_Projects\Croatia\Q-028274_Pan_Papir_Miscanthus_Trial_offer\06_Meetings_Presentations\florid1.jpg">
              <a:extLst>
                <a:ext uri="{FF2B5EF4-FFF2-40B4-BE49-F238E27FC236}">
                  <a16:creationId xmlns:a16="http://schemas.microsoft.com/office/drawing/2014/main" id="{AF143FDA-3399-40C1-BE96-D73F79F543E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611560" y="197619"/>
              <a:ext cx="387168" cy="3844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ADC55868-EC22-45CE-8EB5-414CEE38BF67}"/>
              </a:ext>
            </a:extLst>
          </p:cNvPr>
          <p:cNvSpPr/>
          <p:nvPr/>
        </p:nvSpPr>
        <p:spPr>
          <a:xfrm>
            <a:off x="2207568" y="6426914"/>
            <a:ext cx="266429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/>
              <a:t>ИСТОЧНИК: </a:t>
            </a:r>
            <a:r>
              <a:rPr lang="en-US" sz="900" dirty="0" err="1"/>
              <a:t>RISI;Hawkins</a:t>
            </a:r>
            <a:r>
              <a:rPr lang="en-US" sz="900" dirty="0"/>
              <a:t> Wright</a:t>
            </a:r>
            <a:endParaRPr lang="ru-RU" sz="900" dirty="0"/>
          </a:p>
        </p:txBody>
      </p:sp>
      <p:graphicFrame>
        <p:nvGraphicFramePr>
          <p:cNvPr id="27" name="Диаграмма 26">
            <a:extLst>
              <a:ext uri="{FF2B5EF4-FFF2-40B4-BE49-F238E27FC236}">
                <a16:creationId xmlns:a16="http://schemas.microsoft.com/office/drawing/2014/main" id="{54E241C0-DDB3-44E2-9284-4EA7F7C552AB}"/>
              </a:ext>
            </a:extLst>
          </p:cNvPr>
          <p:cNvGraphicFramePr>
            <a:graphicFrameLocks/>
          </p:cNvGraphicFramePr>
          <p:nvPr/>
        </p:nvGraphicFramePr>
        <p:xfrm>
          <a:off x="1153173" y="3848735"/>
          <a:ext cx="4258244" cy="23165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9DD7C5FE-9322-484F-BAAA-E63D1A194D3D}"/>
              </a:ext>
            </a:extLst>
          </p:cNvPr>
          <p:cNvGraphicFramePr>
            <a:graphicFrameLocks/>
          </p:cNvGraphicFramePr>
          <p:nvPr/>
        </p:nvGraphicFramePr>
        <p:xfrm>
          <a:off x="6096000" y="750654"/>
          <a:ext cx="5107738" cy="27954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2D284A41-C502-49B6-9922-B65CFD227008}"/>
              </a:ext>
            </a:extLst>
          </p:cNvPr>
          <p:cNvGraphicFramePr>
            <a:graphicFrameLocks/>
          </p:cNvGraphicFramePr>
          <p:nvPr/>
        </p:nvGraphicFramePr>
        <p:xfrm>
          <a:off x="839417" y="683541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F32D36EB-880C-4241-8958-EAAC19220EC2}"/>
              </a:ext>
            </a:extLst>
          </p:cNvPr>
          <p:cNvGraphicFramePr>
            <a:graphicFrameLocks/>
          </p:cNvGraphicFramePr>
          <p:nvPr/>
        </p:nvGraphicFramePr>
        <p:xfrm>
          <a:off x="6214993" y="3926402"/>
          <a:ext cx="4798810" cy="20619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E6FFF9F-4612-4522-8BF6-52F06FEE610B}"/>
              </a:ext>
            </a:extLst>
          </p:cNvPr>
          <p:cNvSpPr/>
          <p:nvPr/>
        </p:nvSpPr>
        <p:spPr>
          <a:xfrm>
            <a:off x="6453625" y="3574923"/>
            <a:ext cx="43924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рирост на рынке РФ к 2030г. (</a:t>
            </a:r>
            <a:r>
              <a:rPr lang="ru-RU" sz="12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млн.т</a:t>
            </a:r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в год)</a:t>
            </a:r>
          </a:p>
        </p:txBody>
      </p:sp>
    </p:spTree>
    <p:extLst>
      <p:ext uri="{BB962C8B-B14F-4D97-AF65-F5344CB8AC3E}">
        <p14:creationId xmlns:p14="http://schemas.microsoft.com/office/powerpoint/2010/main" val="22024028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Группа 6">
            <a:extLst>
              <a:ext uri="{FF2B5EF4-FFF2-40B4-BE49-F238E27FC236}">
                <a16:creationId xmlns:a16="http://schemas.microsoft.com/office/drawing/2014/main" id="{60C984FC-C86E-44AA-A60E-FC621EA01723}"/>
              </a:ext>
            </a:extLst>
          </p:cNvPr>
          <p:cNvGrpSpPr>
            <a:grpSpLocks/>
          </p:cNvGrpSpPr>
          <p:nvPr/>
        </p:nvGrpSpPr>
        <p:grpSpPr bwMode="auto">
          <a:xfrm>
            <a:off x="839417" y="269504"/>
            <a:ext cx="10513166" cy="461665"/>
            <a:chOff x="611560" y="159172"/>
            <a:chExt cx="8075240" cy="461369"/>
          </a:xfrm>
        </p:grpSpPr>
        <p:sp>
          <p:nvSpPr>
            <p:cNvPr id="21" name="TextBox 5">
              <a:extLst>
                <a:ext uri="{FF2B5EF4-FFF2-40B4-BE49-F238E27FC236}">
                  <a16:creationId xmlns:a16="http://schemas.microsoft.com/office/drawing/2014/main" id="{CA3573EC-93E3-4D3B-9143-0C5941D73C0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5949" y="159172"/>
              <a:ext cx="8070851" cy="46136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 contourW="12700" prstMaterial="dkEdge">
              <a:bevelT/>
              <a:bevelB/>
              <a:contourClr>
                <a:schemeClr val="bg1"/>
              </a:contourClr>
            </a:sp3d>
          </p:spPr>
          <p:txBody>
            <a:bodyPr anchor="ctr">
              <a:spAutoFit/>
            </a:bodyPr>
            <a:lstStyle/>
            <a:p>
              <a:pPr eaLnBrk="1" hangingPunct="1">
                <a:defRPr/>
              </a:pPr>
              <a:r>
                <a:rPr lang="ru-RU" altLang="ru-RU" sz="2400" b="1" dirty="0">
                  <a:solidFill>
                    <a:schemeClr val="accent3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	Китайский вызов как возможности для ЦБП РФ</a:t>
              </a:r>
            </a:p>
          </p:txBody>
        </p:sp>
        <p:pic>
          <p:nvPicPr>
            <p:cNvPr id="22" name="Picture 7" descr="\\andritz.com\Unit\PPF\Sales\_Projects\Croatia\Q-028274_Pan_Papir_Miscanthus_Trial_offer\06_Meetings_Presentations\florid1.jpg">
              <a:extLst>
                <a:ext uri="{FF2B5EF4-FFF2-40B4-BE49-F238E27FC236}">
                  <a16:creationId xmlns:a16="http://schemas.microsoft.com/office/drawing/2014/main" id="{AF143FDA-3399-40C1-BE96-D73F79F543E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611560" y="197619"/>
              <a:ext cx="387168" cy="3844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63500"/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ADC55868-EC22-45CE-8EB5-414CEE38BF67}"/>
              </a:ext>
            </a:extLst>
          </p:cNvPr>
          <p:cNvSpPr/>
          <p:nvPr/>
        </p:nvSpPr>
        <p:spPr>
          <a:xfrm>
            <a:off x="972616" y="6234611"/>
            <a:ext cx="4953000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900" dirty="0"/>
              <a:t>ИСТОЧНИК: </a:t>
            </a:r>
            <a:r>
              <a:rPr lang="en-US" sz="900" cap="all" dirty="0" err="1"/>
              <a:t>Pöyry</a:t>
            </a:r>
            <a:r>
              <a:rPr lang="en-US" sz="900" dirty="0"/>
              <a:t> </a:t>
            </a:r>
            <a:endParaRPr lang="ru-RU" sz="900" dirty="0"/>
          </a:p>
        </p:txBody>
      </p:sp>
      <p:sp>
        <p:nvSpPr>
          <p:cNvPr id="11" name="Title 5"/>
          <p:cNvSpPr txBox="1">
            <a:spLocks/>
          </p:cNvSpPr>
          <p:nvPr/>
        </p:nvSpPr>
        <p:spPr>
          <a:xfrm>
            <a:off x="1246435" y="879399"/>
            <a:ext cx="3121372" cy="504056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l"/>
            <a:r>
              <a:rPr lang="ru-RU" sz="1600" b="1" dirty="0"/>
              <a:t>Возможности в ЦБП сегодня</a:t>
            </a:r>
            <a:endParaRPr lang="en-US" sz="1600" b="1" dirty="0"/>
          </a:p>
        </p:txBody>
      </p:sp>
      <p:sp>
        <p:nvSpPr>
          <p:cNvPr id="14" name="Text Placeholder 7"/>
          <p:cNvSpPr txBox="1">
            <a:spLocks/>
          </p:cNvSpPr>
          <p:nvPr/>
        </p:nvSpPr>
        <p:spPr>
          <a:xfrm>
            <a:off x="814388" y="1380502"/>
            <a:ext cx="3985467" cy="3920705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/>
              <a:t>Замена пластика</a:t>
            </a:r>
            <a:r>
              <a:rPr lang="en-US" sz="1400" dirty="0"/>
              <a:t>, </a:t>
            </a:r>
            <a:r>
              <a:rPr lang="ru-RU" sz="1400" dirty="0"/>
              <a:t>упаковка и новое использование  целлюлозы и бумаги создают новые потребности</a:t>
            </a:r>
            <a:endParaRPr lang="en-US" sz="1400" dirty="0"/>
          </a:p>
          <a:p>
            <a:r>
              <a:rPr lang="ru-RU" sz="1400" dirty="0"/>
              <a:t>Запрет Китая на импорт несортированной макулатуры является возможностью для бизнеса волокна для всего мира, включая Россию</a:t>
            </a:r>
          </a:p>
          <a:p>
            <a:r>
              <a:rPr lang="ru-RU" sz="1400" dirty="0"/>
              <a:t>Дефицит волокна усиливает заграничные инвестиции Китая в целлюлозные заводы</a:t>
            </a:r>
            <a:r>
              <a:rPr lang="en-US" sz="1400" dirty="0"/>
              <a:t>, </a:t>
            </a:r>
            <a:r>
              <a:rPr lang="ru-RU" sz="1400" dirty="0"/>
              <a:t>рекуперированную бумагу и производство картона</a:t>
            </a:r>
          </a:p>
          <a:p>
            <a:r>
              <a:rPr lang="ru-RU" sz="1400" dirty="0"/>
              <a:t>Заграничные инвестиции Китая будут расти следующие 5 лет</a:t>
            </a:r>
            <a:r>
              <a:rPr lang="en-US" sz="1400" dirty="0"/>
              <a:t>. </a:t>
            </a:r>
            <a:r>
              <a:rPr lang="ru-RU" sz="1400" dirty="0"/>
              <a:t>Значительная часть недавнего глобального роста благодаря Китаю объясняется в том числе закупкой оборудования</a:t>
            </a:r>
          </a:p>
          <a:p>
            <a:pPr marL="0" indent="0">
              <a:buNone/>
            </a:pPr>
            <a:endParaRPr lang="ru-RU" sz="1200" dirty="0"/>
          </a:p>
          <a:p>
            <a:endParaRPr lang="de-CH" sz="1800" dirty="0"/>
          </a:p>
        </p:txBody>
      </p:sp>
      <p:sp>
        <p:nvSpPr>
          <p:cNvPr id="39" name="Прямоугольник 38"/>
          <p:cNvSpPr/>
          <p:nvPr/>
        </p:nvSpPr>
        <p:spPr>
          <a:xfrm>
            <a:off x="839417" y="5364706"/>
            <a:ext cx="10297143" cy="688843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txBody>
          <a:bodyPr wrap="square">
            <a:spAutoFit/>
          </a:bodyPr>
          <a:lstStyle/>
          <a:p>
            <a:r>
              <a:rPr lang="ru-RU" sz="1292" dirty="0"/>
              <a:t>Вывод: растущий спрос на картон и дефицит волокна для макулатурных картонов в Китае представляют возможность для организации производства картонов из альтернативного </a:t>
            </a:r>
            <a:r>
              <a:rPr lang="ru-RU" sz="1292" dirty="0" err="1"/>
              <a:t>недревесного</a:t>
            </a:r>
            <a:r>
              <a:rPr lang="ru-RU" sz="1292" dirty="0"/>
              <a:t> сырья, с качественными характеристиками выше макулатурных, в ценовых параметрах макулатурного картона.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2DF1B6D-4D63-4E76-BEA9-465E73B33D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3832" y="857989"/>
            <a:ext cx="7510923" cy="4371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8659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5ZmaUZ0SLY1xAMnA1Ww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blank">
  <a:themeElements>
    <a:clrScheme name="[Web] Modern Visual Color">
      <a:dk1>
        <a:srgbClr val="FFFFFF"/>
      </a:dk1>
      <a:lt1>
        <a:srgbClr val="FFFFFF"/>
      </a:lt1>
      <a:dk2>
        <a:srgbClr val="FFFFFF"/>
      </a:dk2>
      <a:lt2>
        <a:srgbClr val="FFFFFF"/>
      </a:lt2>
      <a:accent1>
        <a:srgbClr val="BBE4F9"/>
      </a:accent1>
      <a:accent2>
        <a:srgbClr val="52ADD5"/>
      </a:accent2>
      <a:accent3>
        <a:srgbClr val="A5A5A5"/>
      </a:accent3>
      <a:accent4>
        <a:srgbClr val="FF850E"/>
      </a:accent4>
      <a:accent5>
        <a:srgbClr val="E7F5FD"/>
      </a:accent5>
      <a:accent6>
        <a:srgbClr val="FFFFFF"/>
      </a:accent6>
      <a:hlink>
        <a:srgbClr val="FF850E"/>
      </a:hlink>
      <a:folHlink>
        <a:srgbClr val="E6E7E8"/>
      </a:folHlink>
    </a:clrScheme>
    <a:fontScheme name="e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BE4F9"/>
        </a:solidFill>
        <a:ln w="6350">
          <a:solidFill>
            <a:srgbClr val="969696"/>
          </a:solidFill>
          <a:miter lim="800000"/>
        </a:ln>
      </a:spPr>
      <a:bodyPr lIns="18000" tIns="18000" rIns="18000" bIns="18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69696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656</TotalTime>
  <Words>3771</Words>
  <Application>Microsoft Office PowerPoint</Application>
  <PresentationFormat>Широкоэкранный</PresentationFormat>
  <Paragraphs>428</Paragraphs>
  <Slides>33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3</vt:i4>
      </vt:variant>
    </vt:vector>
  </HeadingPairs>
  <TitlesOfParts>
    <vt:vector size="46" baseType="lpstr">
      <vt:lpstr>Arial Unicode MS</vt:lpstr>
      <vt:lpstr>Arial</vt:lpstr>
      <vt:lpstr>Calibri</vt:lpstr>
      <vt:lpstr>Century Gothic</vt:lpstr>
      <vt:lpstr>Symbol</vt:lpstr>
      <vt:lpstr>Times New Roman</vt:lpstr>
      <vt:lpstr>Trebuchet MS</vt:lpstr>
      <vt:lpstr>Verdana</vt:lpstr>
      <vt:lpstr>Wingdings</vt:lpstr>
      <vt:lpstr>Wingdings 3</vt:lpstr>
      <vt:lpstr>1_Тема Office</vt:lpstr>
      <vt:lpstr>1_blank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искантус + Павловния: выращивание экологически чистого будущего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ИССЛЕДОВАНИЕ ГИДРОТРОПНОЙ  ВАРКИ МИСКАНТУСА  И  ПЛОДОВЫХ ОБОЛОЧЕК  ОВСА</dc:title>
  <dc:creator>марина</dc:creator>
  <cp:lastModifiedBy>Сергей Воинский</cp:lastModifiedBy>
  <cp:revision>980</cp:revision>
  <cp:lastPrinted>2019-01-24T08:45:13Z</cp:lastPrinted>
  <dcterms:created xsi:type="dcterms:W3CDTF">2011-02-09T15:54:25Z</dcterms:created>
  <dcterms:modified xsi:type="dcterms:W3CDTF">2020-09-27T22:36:03Z</dcterms:modified>
</cp:coreProperties>
</file>